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xlsx" ContentType="application/vnd.openxmlformats-officedocument.spreadsheetml.sheet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265" r:id="rId3"/>
    <p:sldId id="270" r:id="rId4"/>
    <p:sldId id="275" r:id="rId5"/>
    <p:sldId id="271" r:id="rId6"/>
    <p:sldId id="272" r:id="rId7"/>
    <p:sldId id="273" r:id="rId8"/>
    <p:sldId id="274" r:id="rId9"/>
    <p:sldId id="261" r:id="rId10"/>
    <p:sldId id="268" r:id="rId11"/>
    <p:sldId id="260" r:id="rId12"/>
    <p:sldId id="276" r:id="rId13"/>
    <p:sldId id="277" r:id="rId14"/>
    <p:sldId id="278" r:id="rId15"/>
    <p:sldId id="279" r:id="rId16"/>
    <p:sldId id="280" r:id="rId17"/>
    <p:sldId id="257" r:id="rId18"/>
    <p:sldId id="283" r:id="rId19"/>
    <p:sldId id="258" r:id="rId20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620"/>
    <p:restoredTop sz="94660"/>
  </p:normalViewPr>
  <p:slideViewPr>
    <p:cSldViewPr>
      <p:cViewPr>
        <p:scale>
          <a:sx n="76" d="100"/>
          <a:sy n="76" d="100"/>
        </p:scale>
        <p:origin x="-990" y="-83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56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Office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ln>
              <a:solidFill>
                <a:schemeClr val="bg1">
                  <a:lumMod val="8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c:spPr>
          <c:dLbls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3,75*</a:t>
                    </a:r>
                    <a:endParaRPr lang="en-US"/>
                  </a:p>
                </c:rich>
              </c:tx>
              <c:dLblPos val="outEnd"/>
              <c:showVal val="1"/>
            </c:dLbl>
            <c:txPr>
              <a:bodyPr/>
              <a:lstStyle/>
              <a:p>
                <a:pPr>
                  <a:defRPr sz="900" b="1" cap="sm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defRPr>
                </a:pPr>
                <a:endParaRPr lang="pt-BR"/>
              </a:p>
            </c:txPr>
            <c:dLblPos val="outEnd"/>
            <c:showVal val="1"/>
          </c:dLbls>
          <c:cat>
            <c:numRef>
              <c:f>Plan1!$A$2:$A$9</c:f>
              <c:numCache>
                <c:formatCode>General</c:formatCode>
                <c:ptCount val="8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</c:numCache>
            </c:numRef>
          </c:cat>
          <c:val>
            <c:numRef>
              <c:f>Plan1!$B$2:$B$9</c:f>
              <c:numCache>
                <c:formatCode>General</c:formatCode>
                <c:ptCount val="8"/>
                <c:pt idx="0">
                  <c:v>4.46</c:v>
                </c:pt>
                <c:pt idx="1">
                  <c:v>5.9</c:v>
                </c:pt>
                <c:pt idx="2">
                  <c:v>4.3099999999999996</c:v>
                </c:pt>
                <c:pt idx="3">
                  <c:v>5.92</c:v>
                </c:pt>
                <c:pt idx="4">
                  <c:v>6.5</c:v>
                </c:pt>
                <c:pt idx="5">
                  <c:v>5.84</c:v>
                </c:pt>
                <c:pt idx="6">
                  <c:v>5.91</c:v>
                </c:pt>
                <c:pt idx="7">
                  <c:v>3.75</c:v>
                </c:pt>
              </c:numCache>
            </c:numRef>
          </c:val>
        </c:ser>
        <c:dLbls/>
        <c:gapWidth val="98"/>
        <c:axId val="33731328"/>
        <c:axId val="33732864"/>
      </c:barChart>
      <c:catAx>
        <c:axId val="3373132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900" b="1" cap="small" baseline="0">
                <a:solidFill>
                  <a:srgbClr val="0070C0"/>
                </a:solidFill>
                <a:latin typeface="+mj-lt"/>
              </a:defRPr>
            </a:pPr>
            <a:endParaRPr lang="pt-BR"/>
          </a:p>
        </c:txPr>
        <c:crossAx val="33732864"/>
        <c:crosses val="autoZero"/>
        <c:auto val="1"/>
        <c:lblAlgn val="ctr"/>
        <c:lblOffset val="100"/>
      </c:catAx>
      <c:valAx>
        <c:axId val="33732864"/>
        <c:scaling>
          <c:orientation val="minMax"/>
        </c:scaling>
        <c:delete val="1"/>
        <c:axPos val="l"/>
        <c:numFmt formatCode="General" sourceLinked="1"/>
        <c:tickLblPos val="none"/>
        <c:crossAx val="3373132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pt-B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7838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c:spPr>
          <c:dLbls>
            <c:dLbl>
              <c:idx val="7"/>
              <c:tx>
                <c:rich>
                  <a:bodyPr/>
                  <a:lstStyle/>
                  <a:p>
                    <a:r>
                      <a:rPr lang="en-US" smtClean="0"/>
                      <a:t>3,75*</a:t>
                    </a:r>
                    <a:endParaRPr lang="en-US"/>
                  </a:p>
                </c:rich>
              </c:tx>
              <c:dLblPos val="outEnd"/>
              <c:showVal val="1"/>
            </c:dLbl>
            <c:txPr>
              <a:bodyPr/>
              <a:lstStyle/>
              <a:p>
                <a:pPr>
                  <a:defRPr sz="900" b="1" cap="sm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defRPr>
                </a:pPr>
                <a:endParaRPr lang="pt-BR"/>
              </a:p>
            </c:txPr>
            <c:dLblPos val="outEnd"/>
            <c:showVal val="1"/>
          </c:dLbls>
          <c:cat>
            <c:strRef>
              <c:f>Plan1!$A$2:$A$7</c:f>
              <c:strCache>
                <c:ptCount val="6"/>
                <c:pt idx="0">
                  <c:v>Janeiro</c:v>
                </c:pt>
                <c:pt idx="1">
                  <c:v>Fevereiro</c:v>
                </c:pt>
                <c:pt idx="2">
                  <c:v>Março</c:v>
                </c:pt>
                <c:pt idx="3">
                  <c:v>Abril</c:v>
                </c:pt>
                <c:pt idx="4">
                  <c:v>Maio</c:v>
                </c:pt>
                <c:pt idx="5">
                  <c:v>Junho</c:v>
                </c:pt>
              </c:strCache>
            </c:strRef>
          </c:cat>
          <c:val>
            <c:numRef>
              <c:f>Plan1!$B$2:$B$7</c:f>
              <c:numCache>
                <c:formatCode>General</c:formatCode>
                <c:ptCount val="6"/>
                <c:pt idx="0">
                  <c:v>10</c:v>
                </c:pt>
                <c:pt idx="1">
                  <c:v>10.5</c:v>
                </c:pt>
                <c:pt idx="2">
                  <c:v>10.75</c:v>
                </c:pt>
                <c:pt idx="3">
                  <c:v>11</c:v>
                </c:pt>
                <c:pt idx="4">
                  <c:v>11</c:v>
                </c:pt>
                <c:pt idx="5">
                  <c:v>11</c:v>
                </c:pt>
              </c:numCache>
            </c:numRef>
          </c:val>
        </c:ser>
        <c:dLbls/>
        <c:axId val="56694272"/>
        <c:axId val="56695808"/>
      </c:barChart>
      <c:catAx>
        <c:axId val="5669427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900" b="1" cap="small" baseline="0">
                <a:solidFill>
                  <a:srgbClr val="FD6A24"/>
                </a:solidFill>
                <a:latin typeface="+mj-lt"/>
              </a:defRPr>
            </a:pPr>
            <a:endParaRPr lang="pt-BR"/>
          </a:p>
        </c:txPr>
        <c:crossAx val="56695808"/>
        <c:crosses val="autoZero"/>
        <c:auto val="1"/>
        <c:lblAlgn val="ctr"/>
        <c:lblOffset val="100"/>
      </c:catAx>
      <c:valAx>
        <c:axId val="56695808"/>
        <c:scaling>
          <c:orientation val="minMax"/>
        </c:scaling>
        <c:delete val="1"/>
        <c:axPos val="l"/>
        <c:numFmt formatCode="General" sourceLinked="1"/>
        <c:tickLblPos val="none"/>
        <c:crossAx val="5669427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pt-BR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pt-BR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Plan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FF7838"/>
            </a:solidFill>
            <a:ln>
              <a:solidFill>
                <a:schemeClr val="bg1">
                  <a:lumMod val="8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c:spPr>
          <c:dLbls>
            <c:dLbl>
              <c:idx val="7"/>
              <c:tx>
                <c:rich>
                  <a:bodyPr/>
                  <a:lstStyle/>
                  <a:p>
                    <a:r>
                      <a:rPr lang="en-US" smtClean="0"/>
                      <a:t>3,75*</a:t>
                    </a:r>
                    <a:endParaRPr lang="en-US"/>
                  </a:p>
                </c:rich>
              </c:tx>
              <c:dLblPos val="outEnd"/>
              <c:showVal val="1"/>
            </c:dLbl>
            <c:txPr>
              <a:bodyPr/>
              <a:lstStyle/>
              <a:p>
                <a:pPr>
                  <a:defRPr sz="900" b="1" cap="small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</a:defRPr>
                </a:pPr>
                <a:endParaRPr lang="pt-BR"/>
              </a:p>
            </c:txPr>
            <c:dLblPos val="outEnd"/>
            <c:showVal val="1"/>
          </c:dLbls>
          <c:cat>
            <c:strRef>
              <c:f>Plan1!$A$2:$A$7</c:f>
              <c:strCache>
                <c:ptCount val="6"/>
                <c:pt idx="0">
                  <c:v>Janeiro</c:v>
                </c:pt>
                <c:pt idx="1">
                  <c:v>Fevereiro</c:v>
                </c:pt>
                <c:pt idx="2">
                  <c:v>Março</c:v>
                </c:pt>
                <c:pt idx="3">
                  <c:v>Abril</c:v>
                </c:pt>
                <c:pt idx="4">
                  <c:v>Maio</c:v>
                </c:pt>
                <c:pt idx="5">
                  <c:v>Junho</c:v>
                </c:pt>
              </c:strCache>
            </c:strRef>
          </c:cat>
          <c:val>
            <c:numRef>
              <c:f>Plan1!$B$2:$B$7</c:f>
              <c:numCache>
                <c:formatCode>General</c:formatCode>
                <c:ptCount val="6"/>
                <c:pt idx="0">
                  <c:v>20.66</c:v>
                </c:pt>
                <c:pt idx="1">
                  <c:v>20.97</c:v>
                </c:pt>
                <c:pt idx="2">
                  <c:v>21.1</c:v>
                </c:pt>
                <c:pt idx="3">
                  <c:v>21.1</c:v>
                </c:pt>
                <c:pt idx="4">
                  <c:v>21.36</c:v>
                </c:pt>
                <c:pt idx="5">
                  <c:v>21.06</c:v>
                </c:pt>
              </c:numCache>
            </c:numRef>
          </c:val>
        </c:ser>
        <c:dLbls/>
        <c:axId val="56715520"/>
        <c:axId val="56733696"/>
      </c:barChart>
      <c:catAx>
        <c:axId val="5671552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900" b="1" cap="small" baseline="0">
                <a:solidFill>
                  <a:srgbClr val="FD6A24"/>
                </a:solidFill>
                <a:latin typeface="+mj-lt"/>
              </a:defRPr>
            </a:pPr>
            <a:endParaRPr lang="pt-BR"/>
          </a:p>
        </c:txPr>
        <c:crossAx val="56733696"/>
        <c:crosses val="autoZero"/>
        <c:auto val="1"/>
        <c:lblAlgn val="ctr"/>
        <c:lblOffset val="100"/>
      </c:catAx>
      <c:valAx>
        <c:axId val="56733696"/>
        <c:scaling>
          <c:orientation val="minMax"/>
        </c:scaling>
        <c:delete val="1"/>
        <c:axPos val="l"/>
        <c:numFmt formatCode="General" sourceLinked="1"/>
        <c:tickLblPos val="none"/>
        <c:crossAx val="5671552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pt-BR"/>
    </a:p>
  </c:tx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4375EC2-DA38-42FE-B844-2E121F09DB69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F1719C-D1BF-4BDC-8EAA-318D3585BCB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064777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 err="1" smtClean="0"/>
              <a:t>Brasil</a:t>
            </a:r>
            <a:r>
              <a:rPr lang="en-US" dirty="0" smtClean="0"/>
              <a:t> </a:t>
            </a:r>
            <a:r>
              <a:rPr lang="en-US" dirty="0" err="1" smtClean="0"/>
              <a:t>Sustentável</a:t>
            </a:r>
            <a:r>
              <a:rPr lang="en-US" dirty="0" smtClean="0"/>
              <a:t>: http://fgvprojetos.fgv.br/sites/fgvprojetos.fgv.br/files/922.pdf</a:t>
            </a:r>
          </a:p>
          <a:p>
            <a:r>
              <a:rPr lang="en-US" dirty="0" err="1" smtClean="0"/>
              <a:t>Programa</a:t>
            </a:r>
            <a:r>
              <a:rPr lang="en-US" dirty="0" smtClean="0"/>
              <a:t> </a:t>
            </a:r>
            <a:r>
              <a:rPr lang="en-US" dirty="0" err="1" smtClean="0"/>
              <a:t>Minha</a:t>
            </a:r>
            <a:r>
              <a:rPr lang="en-US" dirty="0" smtClean="0"/>
              <a:t> Cas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elhor</a:t>
            </a:r>
            <a:r>
              <a:rPr lang="en-US" baseline="0" dirty="0" smtClean="0"/>
              <a:t>: http://www.otempo.com.br/capa/economia/minha-casa-melhor-j%C3%A1-financiou-r-593-6-milh%C3%B5es-no-brasil-1.686058</a:t>
            </a:r>
          </a:p>
          <a:p>
            <a:r>
              <a:rPr lang="en-US" baseline="0" dirty="0" err="1" smtClean="0"/>
              <a:t>Crescimento</a:t>
            </a:r>
            <a:r>
              <a:rPr lang="en-US" baseline="0" dirty="0" smtClean="0"/>
              <a:t> PIB 2013: http://economia.estadao.com.br/noticias/economia-geral,expansao-do-pib-segue-em-221-na-pesquisa-focus,162248,0.htm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7A17931-121E-4289-A1F6-50FE807DE5D0}" type="slidenum">
              <a:rPr lang="en-US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397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7EE0E83-B26F-4C56-AE7C-CDDD390C0AA6}" type="slidenum">
              <a:rPr lang="en-US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2947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94933F-2378-484B-8242-1D68F5410DAF}" type="slidenum">
              <a:rPr lang="en-US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300"/>
              </a:spcBef>
            </a:pPr>
            <a:r>
              <a:rPr lang="pt-BR" sz="1200" dirty="0" smtClean="0">
                <a:latin typeface="Arial" pitchFamily="34" charset="0"/>
                <a:cs typeface="Arial" pitchFamily="34" charset="0"/>
              </a:rPr>
              <a:t>Chegamos a um momento decisivo no Brasil para os varejistas, porque neste mês que estão comprando produtos para as vendas de fim de ano, então eles começaram a reavaliar as expectativas e escolher os produtos que não é afetado diretamente por um taxas de alta do dólar. </a:t>
            </a:r>
          </a:p>
          <a:p>
            <a:pPr>
              <a:spcBef>
                <a:spcPts val="300"/>
              </a:spcBef>
            </a:pPr>
            <a:endParaRPr lang="pt-BR" sz="12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pt-BR" sz="1200" dirty="0" smtClean="0">
                <a:latin typeface="Arial" pitchFamily="34" charset="0"/>
                <a:cs typeface="Arial" pitchFamily="34" charset="0"/>
              </a:rPr>
              <a:t>E também um real mais fraco pode reduzir o poder de compra do consumidor</a:t>
            </a:r>
            <a:r>
              <a:rPr lang="en-US" sz="1200" dirty="0" smtClean="0"/>
              <a:t>.</a:t>
            </a:r>
            <a:endParaRPr lang="pt-BR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1EECDA-B59E-488F-8283-AEB39D2B004D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289964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000" b="1" dirty="0" smtClean="0">
                <a:latin typeface="Arial" pitchFamily="34" charset="0"/>
                <a:cs typeface="Arial" pitchFamily="34" charset="0"/>
              </a:rPr>
              <a:t>Mercado reduz previsão de inflação em 2014 pela terceira vez seguida | Valor</a:t>
            </a:r>
            <a:endParaRPr lang="pt-BR" sz="1000" dirty="0" smtClean="0">
              <a:latin typeface="Arial" pitchFamily="34" charset="0"/>
              <a:cs typeface="Arial" pitchFamily="34" charset="0"/>
            </a:endParaRPr>
          </a:p>
          <a:p>
            <a:r>
              <a:rPr lang="pt-BR" sz="1000" dirty="0" smtClean="0">
                <a:latin typeface="Arial" pitchFamily="34" charset="0"/>
                <a:cs typeface="Arial" pitchFamily="34" charset="0"/>
              </a:rPr>
              <a:t>Os analistas do mercado financeiro reduziram pela terceira semana consecutiva suas projeções para inflação medida pelo Índice Nacional de Preços ao Consumidor Amplo (IPCA) para 2014, mas elevaram a estimativa para os próximos 12 meses e para 2015. </a:t>
            </a:r>
          </a:p>
          <a:p>
            <a:r>
              <a:rPr lang="pt-BR" sz="1000" dirty="0" smtClean="0">
                <a:latin typeface="Arial" pitchFamily="34" charset="0"/>
                <a:cs typeface="Arial" pitchFamily="34" charset="0"/>
              </a:rPr>
              <a:t>De acordo com o Boletim Focus, do Banco Central (BC), a mediana de projeções para a alta do IPCA em 2014 saiu de 6,41% para 6,39%. Já a expectativa para a inflação nos próximos 12 meses passou de 5,94% para 6,03%. Para 2015, a mediana de projeções para o avanço do IPCA partiu de 6,21% para 6,24%. Entre as instituições no Top 5, as que mais acertam as previsões, as projeções de inflação para 2014 se mantiveram em 6,39%. O mesmo ocorreu para o IPCA do ano que vem, com expectativas mantidas em 6,75% de alta. No caso da taxa básica de juros, a Selic, as projeções dos analistas consultados pelo BC foram mantidas em 11% para este ano e em 12% para 2015. A estimativa para a Selic no fechamento deste calendário permaneceu em 11%, mas foi revisada de 12% para 11,75% para o encerramento de 2015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52E759-B3D7-441D-91F6-FBFA4814F438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123051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42123808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612877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0961323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835241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6453188"/>
            <a:ext cx="8496300" cy="144462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 smtClean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 smtClean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305851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6657723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889640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9018002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130115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2667632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33624344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4318640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22677371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662163-D964-4533-A077-82F3DBEC00A3}" type="datetimeFigureOut">
              <a:rPr lang="pt-BR" smtClean="0"/>
              <a:pPr/>
              <a:t>06/10/2014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3195DE-68E4-4D32-A621-71D7671D773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xmlns="" val="1799288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chart" Target="../charts/chart3.xml"/><Relationship Id="rId5" Type="http://schemas.openxmlformats.org/officeDocument/2006/relationships/tags" Target="../tags/tag5.xml"/><Relationship Id="rId10" Type="http://schemas.openxmlformats.org/officeDocument/2006/relationships/chart" Target="../charts/chart2.xml"/><Relationship Id="rId4" Type="http://schemas.openxmlformats.org/officeDocument/2006/relationships/tags" Target="../tags/tag4.xml"/><Relationship Id="rId9" Type="http://schemas.openxmlformats.org/officeDocument/2006/relationships/chart" Target="../charts/char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5" Type="http://schemas.openxmlformats.org/officeDocument/2006/relationships/hyperlink" Target="mailto:onofrio.notarnicola@eduzz.com.br" TargetMode="External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online.stanford.edu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1384112"/>
          </a:xfrm>
          <a:prstGeom prst="rect">
            <a:avLst/>
          </a:prstGeom>
        </p:spPr>
      </p:pic>
      <p:sp>
        <p:nvSpPr>
          <p:cNvPr id="3" name="Espaço Reservado para Conteúdo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4000" b="1" dirty="0" smtClean="0">
                <a:solidFill>
                  <a:schemeClr val="tx1"/>
                </a:solidFill>
              </a:rPr>
              <a:t>A Falência do Modelo Atual do EAD</a:t>
            </a:r>
          </a:p>
          <a:p>
            <a:r>
              <a:rPr lang="pt-BR" dirty="0" smtClean="0">
                <a:solidFill>
                  <a:schemeClr val="tx2"/>
                </a:solidFill>
              </a:rPr>
              <a:t>Como Aproveitar a Tendência da Digitalização e Gratuidade da Educação Online?</a:t>
            </a:r>
          </a:p>
          <a:p>
            <a:pPr algn="l"/>
            <a:endParaRPr lang="pt-BR" sz="2800" dirty="0" smtClean="0">
              <a:solidFill>
                <a:schemeClr val="tx1"/>
              </a:solidFill>
            </a:endParaRPr>
          </a:p>
          <a:p>
            <a:pPr algn="l"/>
            <a:endParaRPr lang="pt-BR" sz="2800" dirty="0">
              <a:solidFill>
                <a:schemeClr val="tx1"/>
              </a:solidFill>
            </a:endParaRPr>
          </a:p>
          <a:p>
            <a:pPr algn="l"/>
            <a:r>
              <a:rPr lang="pt-BR" sz="2400" dirty="0" smtClean="0">
                <a:solidFill>
                  <a:schemeClr val="tx1"/>
                </a:solidFill>
              </a:rPr>
              <a:t>Mesa Redonda: </a:t>
            </a:r>
            <a:r>
              <a:rPr lang="pt-BR" sz="2400" dirty="0" smtClean="0">
                <a:solidFill>
                  <a:schemeClr val="tx1"/>
                </a:solidFill>
              </a:rPr>
              <a:t>07/10/2014 – Sala 14</a:t>
            </a:r>
            <a:endParaRPr lang="pt-BR" sz="2400" dirty="0" smtClean="0">
              <a:solidFill>
                <a:schemeClr val="tx1"/>
              </a:solidFill>
            </a:endParaRPr>
          </a:p>
          <a:p>
            <a:pPr algn="l"/>
            <a:r>
              <a:rPr lang="pt-BR" sz="1800" dirty="0" err="1" smtClean="0">
                <a:solidFill>
                  <a:schemeClr val="tx1"/>
                </a:solidFill>
              </a:rPr>
              <a:t>Prof.Dr</a:t>
            </a:r>
            <a:r>
              <a:rPr lang="pt-BR" sz="1800" dirty="0" smtClean="0">
                <a:solidFill>
                  <a:schemeClr val="tx1"/>
                </a:solidFill>
              </a:rPr>
              <a:t>. Carlos Longo – LAUREATE</a:t>
            </a:r>
          </a:p>
          <a:p>
            <a:pPr algn="l"/>
            <a:r>
              <a:rPr lang="pt-BR" sz="1800" dirty="0" smtClean="0">
                <a:solidFill>
                  <a:schemeClr val="tx1"/>
                </a:solidFill>
              </a:rPr>
              <a:t>Prof.Dr. Alessandro </a:t>
            </a:r>
            <a:r>
              <a:rPr lang="pt-BR" sz="1800" dirty="0" err="1" smtClean="0">
                <a:solidFill>
                  <a:schemeClr val="tx1"/>
                </a:solidFill>
              </a:rPr>
              <a:t>Rosini</a:t>
            </a:r>
            <a:r>
              <a:rPr lang="pt-BR" sz="1800" dirty="0" smtClean="0">
                <a:solidFill>
                  <a:schemeClr val="tx1"/>
                </a:solidFill>
              </a:rPr>
              <a:t> - FMU</a:t>
            </a:r>
            <a:endParaRPr lang="pt-BR" sz="1800" dirty="0">
              <a:solidFill>
                <a:schemeClr val="tx1"/>
              </a:solidFill>
            </a:endParaRPr>
          </a:p>
          <a:p>
            <a:pPr algn="l"/>
            <a:r>
              <a:rPr lang="pt-BR" sz="1800" dirty="0" err="1" smtClean="0">
                <a:solidFill>
                  <a:schemeClr val="tx1"/>
                </a:solidFill>
              </a:rPr>
              <a:t>Prof.Dr</a:t>
            </a:r>
            <a:r>
              <a:rPr lang="pt-BR" sz="1800" dirty="0" smtClean="0">
                <a:solidFill>
                  <a:schemeClr val="tx1"/>
                </a:solidFill>
              </a:rPr>
              <a:t>. </a:t>
            </a:r>
            <a:r>
              <a:rPr lang="pt-BR" sz="1800" dirty="0" err="1" smtClean="0">
                <a:solidFill>
                  <a:schemeClr val="tx1"/>
                </a:solidFill>
              </a:rPr>
              <a:t>Valderes</a:t>
            </a:r>
            <a:r>
              <a:rPr lang="pt-BR" sz="1800" dirty="0" smtClean="0">
                <a:solidFill>
                  <a:schemeClr val="tx1"/>
                </a:solidFill>
              </a:rPr>
              <a:t> Fernandes Pinheiro – IMPACTA</a:t>
            </a:r>
          </a:p>
          <a:p>
            <a:pPr algn="l"/>
            <a:endParaRPr lang="pt-BR" sz="1800" dirty="0" smtClean="0">
              <a:solidFill>
                <a:schemeClr val="tx1"/>
              </a:solidFill>
            </a:endParaRPr>
          </a:p>
          <a:p>
            <a:pPr algn="l"/>
            <a:r>
              <a:rPr lang="pt-BR" sz="1800" dirty="0" smtClean="0">
                <a:solidFill>
                  <a:schemeClr val="tx1"/>
                </a:solidFill>
              </a:rPr>
              <a:t>Coord.: Prof. </a:t>
            </a:r>
            <a:r>
              <a:rPr lang="pt-BR" sz="1800" dirty="0" err="1" smtClean="0">
                <a:solidFill>
                  <a:schemeClr val="tx1"/>
                </a:solidFill>
              </a:rPr>
              <a:t>Onófrio</a:t>
            </a:r>
            <a:r>
              <a:rPr lang="pt-BR" sz="1800" dirty="0" smtClean="0">
                <a:solidFill>
                  <a:schemeClr val="tx1"/>
                </a:solidFill>
              </a:rPr>
              <a:t> Notarnicola Filho – EDUZZ - Curadoria</a:t>
            </a:r>
          </a:p>
          <a:p>
            <a:pPr algn="l"/>
            <a:endParaRPr lang="pt-BR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1621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ara onde vamos no Brasil?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A </a:t>
            </a:r>
            <a:r>
              <a:rPr lang="pt-BR" dirty="0"/>
              <a:t>popularidade do curso on-line é de fato a uma alta - a tal ponto que ele levou ao nascimento de novas instituições, cujo único foco é oferecer aprendizagem online. </a:t>
            </a:r>
          </a:p>
          <a:p>
            <a:r>
              <a:rPr lang="pt-BR" dirty="0" smtClean="0"/>
              <a:t>Plataformas como :</a:t>
            </a:r>
            <a:r>
              <a:rPr lang="pt-BR" dirty="0" err="1" smtClean="0"/>
              <a:t>Udacity</a:t>
            </a:r>
            <a:r>
              <a:rPr lang="pt-BR" dirty="0" smtClean="0"/>
              <a:t>, </a:t>
            </a:r>
            <a:r>
              <a:rPr lang="pt-BR" dirty="0" err="1" smtClean="0"/>
              <a:t>Coursera</a:t>
            </a:r>
            <a:r>
              <a:rPr lang="pt-BR" dirty="0" smtClean="0"/>
              <a:t>, Khan </a:t>
            </a:r>
            <a:r>
              <a:rPr lang="pt-BR" dirty="0" err="1"/>
              <a:t>Academy</a:t>
            </a:r>
            <a:r>
              <a:rPr lang="pt-BR" dirty="0"/>
              <a:t>, EDX e </a:t>
            </a:r>
            <a:r>
              <a:rPr lang="pt-BR" dirty="0" err="1" smtClean="0"/>
              <a:t>Udemy</a:t>
            </a:r>
            <a:r>
              <a:rPr lang="pt-BR" dirty="0" smtClean="0"/>
              <a:t>.</a:t>
            </a:r>
          </a:p>
          <a:p>
            <a:r>
              <a:rPr lang="pt-BR" b="1" dirty="0" smtClean="0"/>
              <a:t>No Brasil agora </a:t>
            </a:r>
            <a:r>
              <a:rPr lang="pt-BR" dirty="0" smtClean="0"/>
              <a:t>: </a:t>
            </a:r>
            <a:r>
              <a:rPr lang="pt-BR" dirty="0" err="1" smtClean="0">
                <a:solidFill>
                  <a:schemeClr val="tx2"/>
                </a:solidFill>
              </a:rPr>
              <a:t>www</a:t>
            </a:r>
            <a:r>
              <a:rPr lang="pt-BR" dirty="0" smtClean="0">
                <a:solidFill>
                  <a:schemeClr val="tx2"/>
                </a:solidFill>
              </a:rPr>
              <a:t>. EDUZZ.com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554010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ompetitividade do Brasil!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507288" cy="5069160"/>
          </a:xfrm>
        </p:spPr>
        <p:txBody>
          <a:bodyPr>
            <a:normAutofit fontScale="85000" lnSpcReduction="20000"/>
          </a:bodyPr>
          <a:lstStyle/>
          <a:p>
            <a:r>
              <a:rPr lang="pt-BR" dirty="0"/>
              <a:t>O</a:t>
            </a:r>
            <a:r>
              <a:rPr lang="pt-BR" dirty="0" smtClean="0"/>
              <a:t>cupa </a:t>
            </a:r>
            <a:r>
              <a:rPr lang="pt-BR" dirty="0"/>
              <a:t>o </a:t>
            </a:r>
            <a:r>
              <a:rPr lang="pt-BR" dirty="0" smtClean="0"/>
              <a:t>48º </a:t>
            </a:r>
            <a:r>
              <a:rPr lang="pt-BR" dirty="0"/>
              <a:t>lugar entre 56 países, de acordo com pesquisa do Fórum Econômico Mundial</a:t>
            </a:r>
            <a:r>
              <a:rPr lang="pt-BR" dirty="0" smtClean="0"/>
              <a:t>.</a:t>
            </a:r>
          </a:p>
          <a:p>
            <a:r>
              <a:rPr lang="pt-BR" dirty="0" smtClean="0"/>
              <a:t>O </a:t>
            </a:r>
            <a:r>
              <a:rPr lang="pt-BR" dirty="0"/>
              <a:t>que está na base desse resultado, para o diretor da </a:t>
            </a:r>
            <a:r>
              <a:rPr lang="pt-BR" dirty="0" err="1"/>
              <a:t>Change</a:t>
            </a:r>
            <a:r>
              <a:rPr lang="pt-BR" dirty="0"/>
              <a:t> Consultoria, Luiz Augusto Leite, é o descompasso entre a educação e o potencial das empresas, que têm de educar os jovens para o trabalho e para a vida. </a:t>
            </a:r>
            <a:endParaRPr lang="pt-BR" dirty="0" smtClean="0"/>
          </a:p>
          <a:p>
            <a:r>
              <a:rPr lang="pt-BR" dirty="0" smtClean="0"/>
              <a:t>As empresas </a:t>
            </a:r>
            <a:r>
              <a:rPr lang="pt-BR" dirty="0"/>
              <a:t>assumem muito mais que treinamento e desenvolvimento das competências técnicas: elas atuam  como educadoras de seus funcionários, desenvolvendo neles valores como cidadania, responsabilidade ambiental, cultura e qualidade de vida no </a:t>
            </a:r>
            <a:r>
              <a:rPr lang="pt-BR" dirty="0" smtClean="0"/>
              <a:t>trabalho.</a:t>
            </a:r>
            <a:r>
              <a:rPr lang="pt-BR" dirty="0"/>
              <a:t/>
            </a:r>
            <a:br>
              <a:rPr lang="pt-BR" dirty="0"/>
            </a:br>
            <a:r>
              <a:rPr lang="pt-BR" dirty="0"/>
              <a:t/>
            </a:r>
            <a:br>
              <a:rPr lang="pt-BR" dirty="0"/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4048544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8" name="CaixaDeTexto 1"/>
          <p:cNvSpPr txBox="1">
            <a:spLocks noChangeArrowheads="1"/>
          </p:cNvSpPr>
          <p:nvPr/>
        </p:nvSpPr>
        <p:spPr bwMode="auto">
          <a:xfrm>
            <a:off x="252610" y="6454030"/>
            <a:ext cx="8351838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pt-BR" sz="800" dirty="0" err="1" smtClean="0">
                <a:solidFill>
                  <a:schemeClr val="bg1">
                    <a:lumMod val="50000"/>
                  </a:schemeClr>
                </a:solidFill>
              </a:rPr>
              <a:t>Sources</a:t>
            </a:r>
            <a:r>
              <a:rPr lang="pt-BR" sz="800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pt-BR" sz="800" dirty="0" err="1" smtClean="0">
                <a:solidFill>
                  <a:schemeClr val="bg1">
                    <a:lumMod val="50000"/>
                  </a:schemeClr>
                </a:solidFill>
              </a:rPr>
              <a:t>Estadao</a:t>
            </a:r>
            <a:r>
              <a:rPr lang="pt-BR" sz="800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pt-BR" sz="800" dirty="0">
                <a:solidFill>
                  <a:schemeClr val="bg1">
                    <a:lumMod val="50000"/>
                  </a:schemeClr>
                </a:solidFill>
              </a:rPr>
              <a:t>Isto é Dinheiro, </a:t>
            </a:r>
            <a:r>
              <a:rPr lang="pt-BR" sz="800" dirty="0" smtClean="0">
                <a:solidFill>
                  <a:schemeClr val="bg1">
                    <a:lumMod val="50000"/>
                  </a:schemeClr>
                </a:solidFill>
              </a:rPr>
              <a:t>BCB (Banco Central do Brasil), </a:t>
            </a:r>
            <a:r>
              <a:rPr lang="pt-BR" sz="800" dirty="0">
                <a:solidFill>
                  <a:schemeClr val="bg1">
                    <a:lumMod val="50000"/>
                  </a:schemeClr>
                </a:solidFill>
              </a:rPr>
              <a:t>FGV (Sondagem do Consumidor- Índice de </a:t>
            </a:r>
            <a:r>
              <a:rPr lang="pt-BR" sz="800" dirty="0" smtClean="0">
                <a:solidFill>
                  <a:schemeClr val="bg1">
                    <a:lumMod val="50000"/>
                  </a:schemeClr>
                </a:solidFill>
              </a:rPr>
              <a:t>confiança; Brasil Sustentável).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486" name="Retângulo 19485"/>
          <p:cNvSpPr>
            <a:spLocks noChangeArrowheads="1"/>
          </p:cNvSpPr>
          <p:nvPr/>
        </p:nvSpPr>
        <p:spPr bwMode="auto">
          <a:xfrm>
            <a:off x="2124075" y="1396384"/>
            <a:ext cx="676840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 eaLnBrk="0" hangingPunct="0">
              <a:spcBef>
                <a:spcPts val="600"/>
              </a:spcBef>
            </a:pPr>
            <a:r>
              <a:rPr lang="pt-BR" sz="1500" dirty="0" smtClean="0">
                <a:solidFill>
                  <a:srgbClr val="000000"/>
                </a:solidFill>
              </a:rPr>
              <a:t>Economia </a:t>
            </a:r>
            <a:r>
              <a:rPr lang="pt-BR" sz="1500" dirty="0">
                <a:solidFill>
                  <a:srgbClr val="000000"/>
                </a:solidFill>
              </a:rPr>
              <a:t>brasileira apresentou um crescimento de 7,5% em 2010, 2,5% em 2011, 0,9% em 2012, 2,3% em 2013 </a:t>
            </a:r>
            <a:r>
              <a:rPr lang="pt-BR" sz="1500" dirty="0" smtClean="0">
                <a:solidFill>
                  <a:srgbClr val="000000"/>
                </a:solidFill>
              </a:rPr>
              <a:t>e a </a:t>
            </a:r>
            <a:r>
              <a:rPr lang="pt-BR" sz="1500" dirty="0">
                <a:solidFill>
                  <a:srgbClr val="000000"/>
                </a:solidFill>
              </a:rPr>
              <a:t>previsão em 2014 é de cerca de 0,86%.</a:t>
            </a:r>
            <a:endParaRPr lang="en-US" sz="1500" dirty="0"/>
          </a:p>
        </p:txBody>
      </p:sp>
      <p:pic>
        <p:nvPicPr>
          <p:cNvPr id="33" name="Imagem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650" y="1197946"/>
            <a:ext cx="1295400" cy="97313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ço Reservado para Conteúdo 2"/>
          <p:cNvSpPr txBox="1">
            <a:spLocks/>
          </p:cNvSpPr>
          <p:nvPr/>
        </p:nvSpPr>
        <p:spPr bwMode="gray">
          <a:xfrm>
            <a:off x="468312" y="2420888"/>
            <a:ext cx="8424167" cy="643732"/>
          </a:xfrm>
          <a:prstGeom prst="rect">
            <a:avLst/>
          </a:prstGeom>
        </p:spPr>
        <p:txBody>
          <a:bodyPr vert="horz" wrap="square" lIns="0" tIns="18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defRPr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ts val="6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975" indent="-180975" algn="l" rtl="0" eaLnBrk="0" fontAlgn="base" hangingPunct="0">
              <a:spcBef>
                <a:spcPts val="3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58775" indent="-180975" algn="l" rtl="0" eaLnBrk="0" fontAlgn="base" hangingPunct="0">
              <a:spcBef>
                <a:spcPts val="3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539750" indent="-180975" algn="l" rtl="0" eaLnBrk="0" fontAlgn="base" hangingPunct="0">
              <a:spcBef>
                <a:spcPts val="3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indent="0" algn="just"/>
            <a:endParaRPr lang="en-US" sz="1500" dirty="0" smtClean="0">
              <a:latin typeface="Arial" charset="0"/>
              <a:cs typeface="Arial" charset="0"/>
            </a:endParaRPr>
          </a:p>
          <a:p>
            <a:pPr marL="0" indent="0" algn="just"/>
            <a:r>
              <a:rPr lang="pt-BR" sz="1500" dirty="0">
                <a:solidFill>
                  <a:schemeClr val="tx1"/>
                </a:solidFill>
                <a:latin typeface="Arial" charset="0"/>
                <a:cs typeface="Arial" charset="0"/>
              </a:rPr>
              <a:t>Com o crescimento da classe </a:t>
            </a:r>
            <a:r>
              <a:rPr lang="pt-BR" sz="15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média Brasileira,  a pirâmide </a:t>
            </a:r>
            <a:r>
              <a:rPr lang="pt-BR" sz="1500" dirty="0">
                <a:solidFill>
                  <a:schemeClr val="tx1"/>
                </a:solidFill>
                <a:latin typeface="Arial" charset="0"/>
                <a:cs typeface="Arial" charset="0"/>
              </a:rPr>
              <a:t>social se transformou em um losango.</a:t>
            </a:r>
            <a:endParaRPr lang="en-US" sz="1500" dirty="0" smtClean="0">
              <a:latin typeface="Arial" charset="0"/>
              <a:cs typeface="Arial" charset="0"/>
            </a:endParaRPr>
          </a:p>
        </p:txBody>
      </p:sp>
      <p:sp>
        <p:nvSpPr>
          <p:cNvPr id="12" name="Triângulo isósceles 11"/>
          <p:cNvSpPr/>
          <p:nvPr/>
        </p:nvSpPr>
        <p:spPr bwMode="gray">
          <a:xfrm>
            <a:off x="1043608" y="3027679"/>
            <a:ext cx="2992823" cy="1424289"/>
          </a:xfrm>
          <a:prstGeom prst="triangle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n-US" sz="2800" dirty="0" err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3" name="Retângulo 12"/>
          <p:cNvSpPr/>
          <p:nvPr/>
        </p:nvSpPr>
        <p:spPr bwMode="gray">
          <a:xfrm>
            <a:off x="1164622" y="4190584"/>
            <a:ext cx="2754000" cy="21748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pt-BR" sz="1200" dirty="0" smtClean="0">
                <a:solidFill>
                  <a:schemeClr val="tx1"/>
                </a:solidFill>
                <a:cs typeface="Arial" pitchFamily="34" charset="0"/>
              </a:rPr>
              <a:t>DE 51</a:t>
            </a:r>
            <a:r>
              <a:rPr lang="pt-BR" sz="1200" dirty="0">
                <a:solidFill>
                  <a:schemeClr val="tx1"/>
                </a:solidFill>
                <a:cs typeface="Arial" pitchFamily="34" charset="0"/>
              </a:rPr>
              <a:t>%</a:t>
            </a:r>
            <a:endParaRPr lang="en-US" sz="12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4" name="Retângulo 13"/>
          <p:cNvSpPr/>
          <p:nvPr/>
        </p:nvSpPr>
        <p:spPr bwMode="gray">
          <a:xfrm>
            <a:off x="1623622" y="3805736"/>
            <a:ext cx="1836000" cy="21748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pt-BR" sz="1200" dirty="0">
                <a:solidFill>
                  <a:schemeClr val="bg1"/>
                </a:solidFill>
                <a:cs typeface="Arial" pitchFamily="34" charset="0"/>
              </a:rPr>
              <a:t>C </a:t>
            </a:r>
            <a:r>
              <a:rPr lang="pt-BR" sz="1200" dirty="0" smtClean="0">
                <a:solidFill>
                  <a:schemeClr val="bg1"/>
                </a:solidFill>
                <a:cs typeface="Arial" pitchFamily="34" charset="0"/>
              </a:rPr>
              <a:t>34</a:t>
            </a:r>
            <a:r>
              <a:rPr lang="pt-BR" sz="1200" dirty="0">
                <a:solidFill>
                  <a:schemeClr val="bg1"/>
                </a:solidFill>
                <a:cs typeface="Arial" pitchFamily="34" charset="0"/>
              </a:rPr>
              <a:t>%</a:t>
            </a:r>
            <a:endParaRPr lang="en-US" sz="1200" dirty="0" err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5" name="Retângulo 14"/>
          <p:cNvSpPr/>
          <p:nvPr/>
        </p:nvSpPr>
        <p:spPr bwMode="gray">
          <a:xfrm>
            <a:off x="2136622" y="3422476"/>
            <a:ext cx="810000" cy="215900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pt-BR" sz="1200" dirty="0">
                <a:solidFill>
                  <a:schemeClr val="bg1"/>
                </a:solidFill>
                <a:cs typeface="Arial" pitchFamily="34" charset="0"/>
              </a:rPr>
              <a:t>AB 15% </a:t>
            </a:r>
            <a:endParaRPr lang="en-US" sz="1200" dirty="0" err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9" name="CaixaDeTexto 6"/>
          <p:cNvSpPr txBox="1">
            <a:spLocks noChangeArrowheads="1"/>
          </p:cNvSpPr>
          <p:nvPr/>
        </p:nvSpPr>
        <p:spPr bwMode="auto">
          <a:xfrm>
            <a:off x="1451771" y="3212512"/>
            <a:ext cx="914188" cy="319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pt-BR" sz="1200" b="1" dirty="0"/>
              <a:t>2005</a:t>
            </a:r>
            <a:endParaRPr lang="en-US" sz="1200" b="1" dirty="0"/>
          </a:p>
        </p:txBody>
      </p:sp>
      <p:sp>
        <p:nvSpPr>
          <p:cNvPr id="21" name="CaixaDeTexto 21"/>
          <p:cNvSpPr txBox="1">
            <a:spLocks noChangeArrowheads="1"/>
          </p:cNvSpPr>
          <p:nvPr/>
        </p:nvSpPr>
        <p:spPr bwMode="auto">
          <a:xfrm>
            <a:off x="4953956" y="3212512"/>
            <a:ext cx="914188" cy="319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pt-BR" sz="1200" b="1" dirty="0" smtClean="0"/>
              <a:t>2012</a:t>
            </a:r>
            <a:endParaRPr lang="en-US" sz="1200" b="1" dirty="0"/>
          </a:p>
        </p:txBody>
      </p:sp>
      <p:sp>
        <p:nvSpPr>
          <p:cNvPr id="22" name="Fluxograma: Decisão 21"/>
          <p:cNvSpPr/>
          <p:nvPr/>
        </p:nvSpPr>
        <p:spPr bwMode="gray">
          <a:xfrm>
            <a:off x="4354685" y="3335958"/>
            <a:ext cx="3745707" cy="1173162"/>
          </a:xfrm>
          <a:prstGeom prst="flowChartDecision">
            <a:avLst/>
          </a:prstGeom>
          <a:solidFill>
            <a:schemeClr val="accent4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endParaRPr lang="en-US" sz="28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3" name="Retângulo 22"/>
          <p:cNvSpPr/>
          <p:nvPr/>
        </p:nvSpPr>
        <p:spPr bwMode="gray">
          <a:xfrm>
            <a:off x="4796538" y="3807324"/>
            <a:ext cx="2862000" cy="2159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pt-BR" sz="1200" dirty="0">
                <a:solidFill>
                  <a:schemeClr val="bg1"/>
                </a:solidFill>
                <a:cs typeface="Arial" pitchFamily="34" charset="0"/>
              </a:rPr>
              <a:t>C </a:t>
            </a:r>
            <a:r>
              <a:rPr lang="pt-BR" sz="1200" dirty="0" smtClean="0">
                <a:solidFill>
                  <a:schemeClr val="bg1"/>
                </a:solidFill>
                <a:cs typeface="Arial" pitchFamily="34" charset="0"/>
              </a:rPr>
              <a:t>52.4%</a:t>
            </a:r>
            <a:endParaRPr lang="en-US" sz="1200" dirty="0" err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4" name="Retângulo 23"/>
          <p:cNvSpPr/>
          <p:nvPr/>
        </p:nvSpPr>
        <p:spPr bwMode="gray">
          <a:xfrm>
            <a:off x="5525538" y="4207253"/>
            <a:ext cx="1404000" cy="184150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pt-BR" sz="1200" dirty="0">
                <a:solidFill>
                  <a:schemeClr val="tx1"/>
                </a:solidFill>
                <a:cs typeface="Arial" pitchFamily="34" charset="0"/>
              </a:rPr>
              <a:t>D </a:t>
            </a:r>
            <a:r>
              <a:rPr lang="pt-BR" sz="1200" dirty="0" smtClean="0">
                <a:solidFill>
                  <a:schemeClr val="tx1"/>
                </a:solidFill>
                <a:cs typeface="Arial" pitchFamily="34" charset="0"/>
              </a:rPr>
              <a:t>20.6%</a:t>
            </a:r>
            <a:endParaRPr lang="en-US" sz="1200" dirty="0" err="1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5" name="Retângulo 24"/>
          <p:cNvSpPr/>
          <p:nvPr/>
        </p:nvSpPr>
        <p:spPr bwMode="gray">
          <a:xfrm>
            <a:off x="5660538" y="3415333"/>
            <a:ext cx="1134000" cy="230187"/>
          </a:xfrm>
          <a:prstGeom prst="rect">
            <a:avLst/>
          </a:prstGeom>
          <a:solidFill>
            <a:srgbClr val="00206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300"/>
              </a:spcBef>
              <a:defRPr/>
            </a:pPr>
            <a:r>
              <a:rPr lang="pt-BR" sz="1200" dirty="0">
                <a:solidFill>
                  <a:schemeClr val="bg1"/>
                </a:solidFill>
                <a:cs typeface="Arial" pitchFamily="34" charset="0"/>
              </a:rPr>
              <a:t>AB </a:t>
            </a:r>
            <a:r>
              <a:rPr lang="pt-BR" sz="1200" dirty="0" smtClean="0">
                <a:solidFill>
                  <a:schemeClr val="bg1"/>
                </a:solidFill>
                <a:cs typeface="Arial" pitchFamily="34" charset="0"/>
              </a:rPr>
              <a:t>27% </a:t>
            </a:r>
            <a:endParaRPr lang="en-US" sz="1200" dirty="0" err="1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7" name="Titel 1"/>
          <p:cNvSpPr txBox="1">
            <a:spLocks/>
          </p:cNvSpPr>
          <p:nvPr/>
        </p:nvSpPr>
        <p:spPr bwMode="gray">
          <a:xfrm>
            <a:off x="251521" y="412750"/>
            <a:ext cx="8640958" cy="495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b="1" dirty="0"/>
              <a:t>Fatos econômicos e </a:t>
            </a:r>
            <a:r>
              <a:rPr lang="pt-BR" sz="2400" b="1" dirty="0" smtClean="0"/>
              <a:t>sociais : Classes Sociais / Incentivos do Governo as classes sociais</a:t>
            </a:r>
            <a:endParaRPr lang="de-DE" sz="2400" b="1" dirty="0"/>
          </a:p>
        </p:txBody>
      </p:sp>
      <p:sp>
        <p:nvSpPr>
          <p:cNvPr id="4" name="Retângulo 3"/>
          <p:cNvSpPr/>
          <p:nvPr/>
        </p:nvSpPr>
        <p:spPr bwMode="gray">
          <a:xfrm>
            <a:off x="251520" y="3777923"/>
            <a:ext cx="8164842" cy="283401"/>
          </a:xfrm>
          <a:prstGeom prst="rect">
            <a:avLst/>
          </a:prstGeom>
          <a:noFill/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7812360" y="3598912"/>
            <a:ext cx="133164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pt-BR" sz="1200" b="1" dirty="0" smtClean="0">
                <a:latin typeface="Arial" pitchFamily="34" charset="0"/>
                <a:cs typeface="Arial" pitchFamily="34" charset="0"/>
              </a:rPr>
              <a:t>Consumidores</a:t>
            </a:r>
          </a:p>
          <a:p>
            <a:pPr algn="ctr">
              <a:spcBef>
                <a:spcPts val="300"/>
              </a:spcBef>
            </a:pPr>
            <a:r>
              <a:rPr lang="pt-BR" sz="1200" b="1" dirty="0" smtClean="0">
                <a:latin typeface="Arial" pitchFamily="34" charset="0"/>
                <a:cs typeface="Arial" pitchFamily="34" charset="0"/>
              </a:rPr>
              <a:t>Emergentes</a:t>
            </a:r>
            <a:endParaRPr lang="en-US" sz="1200" b="1" dirty="0" err="1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Espaço Reservado para Conteúdo 2"/>
          <p:cNvSpPr txBox="1">
            <a:spLocks/>
          </p:cNvSpPr>
          <p:nvPr/>
        </p:nvSpPr>
        <p:spPr bwMode="gray">
          <a:xfrm>
            <a:off x="107504" y="5156278"/>
            <a:ext cx="8496944" cy="936550"/>
          </a:xfrm>
          <a:prstGeom prst="rect">
            <a:avLst/>
          </a:prstGeom>
        </p:spPr>
        <p:txBody>
          <a:bodyPr vert="horz" wrap="square" lIns="91440" tIns="0" rIns="91440" bIns="36000" numCol="1" rtlCol="0" anchor="ctr" anchorCtr="0" compatLnSpc="1">
            <a:prstTxWarp prst="textNoShape">
              <a:avLst/>
            </a:prstTxWarp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1500" dirty="0">
                <a:solidFill>
                  <a:schemeClr val="tx1"/>
                </a:solidFill>
                <a:latin typeface="Arial" charset="0"/>
                <a:cs typeface="Arial" charset="0"/>
              </a:rPr>
              <a:t>Em agosto de 2014, o montante total do crédito representa R $ 2,8 trilhões (56% do PIB).</a:t>
            </a:r>
            <a:endParaRPr lang="en-US" sz="15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541265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 animBg="1"/>
      <p:bldP spid="13" grpId="0" animBg="1"/>
      <p:bldP spid="14" grpId="0" animBg="1"/>
      <p:bldP spid="15" grpId="0" animBg="1"/>
      <p:bldP spid="19" grpId="0"/>
      <p:bldP spid="21" grpId="0"/>
      <p:bldP spid="22" grpId="0" animBg="1"/>
      <p:bldP spid="23" grpId="0" animBg="1"/>
      <p:bldP spid="24" grpId="0" animBg="1"/>
      <p:bldP spid="25" grpId="0" animBg="1"/>
      <p:bldP spid="4" grpId="0" animBg="1"/>
      <p:bldP spid="5" grpId="0"/>
      <p:bldP spid="26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2" name="CaixaDeTexto 1"/>
          <p:cNvSpPr txBox="1">
            <a:spLocks noChangeArrowheads="1"/>
          </p:cNvSpPr>
          <p:nvPr/>
        </p:nvSpPr>
        <p:spPr bwMode="auto">
          <a:xfrm>
            <a:off x="107255" y="6658371"/>
            <a:ext cx="878522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pt-BR" sz="1050" dirty="0" err="1" smtClean="0">
                <a:solidFill>
                  <a:srgbClr val="000000"/>
                </a:solidFill>
              </a:rPr>
              <a:t>Source</a:t>
            </a:r>
            <a:r>
              <a:rPr lang="pt-BR" sz="1050" dirty="0" smtClean="0">
                <a:solidFill>
                  <a:srgbClr val="000000"/>
                </a:solidFill>
              </a:rPr>
              <a:t>: </a:t>
            </a:r>
            <a:r>
              <a:rPr lang="pt-BR" sz="1050" dirty="0">
                <a:solidFill>
                  <a:srgbClr val="000000"/>
                </a:solidFill>
              </a:rPr>
              <a:t>E</a:t>
            </a:r>
            <a:r>
              <a:rPr lang="pt-BR" sz="1050" dirty="0" smtClean="0">
                <a:solidFill>
                  <a:srgbClr val="000000"/>
                </a:solidFill>
              </a:rPr>
              <a:t>-bit</a:t>
            </a:r>
            <a:endParaRPr lang="pt-BR" sz="1050" dirty="0">
              <a:solidFill>
                <a:srgbClr val="000000"/>
              </a:solidFill>
            </a:endParaRPr>
          </a:p>
          <a:p>
            <a:pPr eaLnBrk="1" hangingPunct="1">
              <a:spcBef>
                <a:spcPts val="300"/>
              </a:spcBef>
            </a:pPr>
            <a:endParaRPr lang="pt-BR" sz="800" dirty="0">
              <a:solidFill>
                <a:srgbClr val="000000"/>
              </a:solidFill>
            </a:endParaRPr>
          </a:p>
          <a:p>
            <a:pPr eaLnBrk="1" hangingPunct="1">
              <a:spcBef>
                <a:spcPts val="300"/>
              </a:spcBef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07255" y="1772816"/>
            <a:ext cx="8929241" cy="3816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eaLnBrk="0" hangingPunct="0">
              <a:spcBef>
                <a:spcPts val="600"/>
              </a:spcBef>
              <a:defRPr sz="1500">
                <a:solidFill>
                  <a:srgbClr val="000000"/>
                </a:solidFill>
              </a:defRPr>
            </a:lvl1pPr>
          </a:lstStyle>
          <a:p>
            <a:pPr marL="342900" indent="-342900">
              <a:buFont typeface="Arial" pitchFamily="34" charset="0"/>
              <a:buChar char="•"/>
            </a:pPr>
            <a:r>
              <a:rPr lang="pt-BR" sz="2400" dirty="0"/>
              <a:t>8% de crescimento em comparação com o mesmo período de </a:t>
            </a:r>
            <a:r>
              <a:rPr lang="pt-BR" sz="2400" dirty="0" smtClean="0"/>
              <a:t>2012.</a:t>
            </a:r>
            <a:endParaRPr lang="pt-BR" sz="2400" dirty="0"/>
          </a:p>
          <a:p>
            <a:endParaRPr lang="pt-BR" sz="2400" dirty="0"/>
          </a:p>
          <a:p>
            <a:pPr marL="342900" indent="-342900">
              <a:buFont typeface="Arial" pitchFamily="34" charset="0"/>
              <a:buChar char="•"/>
            </a:pPr>
            <a:r>
              <a:rPr lang="pt-BR" sz="2400" dirty="0"/>
              <a:t>Os dados mostram que 88,3 milhões de vendas foram registrados. </a:t>
            </a:r>
          </a:p>
          <a:p>
            <a:endParaRPr lang="pt-BR" sz="2400" dirty="0"/>
          </a:p>
          <a:p>
            <a:pPr marL="342900" indent="-342900">
              <a:buFont typeface="Arial" pitchFamily="34" charset="0"/>
              <a:buChar char="•"/>
            </a:pPr>
            <a:r>
              <a:rPr lang="pt-BR" sz="2400" dirty="0"/>
              <a:t>9,1 milhões de pessoas fizeram a primeira compra por internet </a:t>
            </a:r>
          </a:p>
          <a:p>
            <a:endParaRPr lang="pt-BR" sz="2400" dirty="0"/>
          </a:p>
          <a:p>
            <a:pPr marL="342900" indent="-342900">
              <a:buFont typeface="Arial" pitchFamily="34" charset="0"/>
              <a:buChar char="•"/>
            </a:pPr>
            <a:r>
              <a:rPr lang="pt-BR" sz="2400" dirty="0" smtClean="0"/>
              <a:t>Projeção da </a:t>
            </a:r>
            <a:r>
              <a:rPr lang="pt-BR" sz="2400" dirty="0"/>
              <a:t>receita de </a:t>
            </a:r>
            <a:r>
              <a:rPr lang="pt-BR" sz="2400" dirty="0" smtClean="0"/>
              <a:t>e-Commerce </a:t>
            </a:r>
            <a:r>
              <a:rPr lang="pt-BR" sz="2400" dirty="0"/>
              <a:t>em 2014 será de </a:t>
            </a:r>
            <a:r>
              <a:rPr lang="pt-BR" sz="2400" dirty="0" smtClean="0"/>
              <a:t>R$ </a:t>
            </a:r>
            <a:r>
              <a:rPr lang="pt-BR" sz="2400" dirty="0"/>
              <a:t>34,6 </a:t>
            </a:r>
            <a:r>
              <a:rPr lang="pt-BR" sz="2400" dirty="0" smtClean="0"/>
              <a:t>bilhões.</a:t>
            </a:r>
            <a:endParaRPr lang="pt-BR" sz="2400" dirty="0"/>
          </a:p>
          <a:p>
            <a:endParaRPr lang="en-US" dirty="0" err="1"/>
          </a:p>
        </p:txBody>
      </p:sp>
      <p:sp>
        <p:nvSpPr>
          <p:cNvPr id="11" name="Titel 1"/>
          <p:cNvSpPr txBox="1">
            <a:spLocks/>
          </p:cNvSpPr>
          <p:nvPr/>
        </p:nvSpPr>
        <p:spPr bwMode="gray">
          <a:xfrm>
            <a:off x="395536" y="333028"/>
            <a:ext cx="86677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400" b="1" dirty="0" smtClean="0"/>
              <a:t>e-Commerce = R$ </a:t>
            </a:r>
            <a:r>
              <a:rPr lang="pt-BR" sz="2400" b="1" dirty="0"/>
              <a:t>16,06 bi </a:t>
            </a:r>
            <a:r>
              <a:rPr lang="pt-BR" sz="2400" b="1" dirty="0" smtClean="0"/>
              <a:t>de </a:t>
            </a:r>
            <a:r>
              <a:rPr lang="pt-BR" sz="2400" b="1" dirty="0"/>
              <a:t>receita no primeiro semestre </a:t>
            </a:r>
          </a:p>
          <a:p>
            <a:r>
              <a:rPr lang="pt-BR" sz="2400" b="1" dirty="0"/>
              <a:t>(no mesmo período de 2013 foi de R $ 12,74)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xmlns="" val="1155419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 bwMode="gray">
          <a:xfrm>
            <a:off x="6325592" y="116632"/>
            <a:ext cx="1728192" cy="12241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16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387" name="Inhaltsplatzhalter 14"/>
          <p:cNvSpPr>
            <a:spLocks noGrp="1"/>
          </p:cNvSpPr>
          <p:nvPr>
            <p:ph idx="1"/>
          </p:nvPr>
        </p:nvSpPr>
        <p:spPr>
          <a:xfrm>
            <a:off x="3007181" y="1412875"/>
            <a:ext cx="6389355" cy="5040313"/>
          </a:xfrm>
        </p:spPr>
        <p:txBody>
          <a:bodyPr wrap="square" numCol="1" anchor="ctr" compatLnSpc="1">
            <a:prstTxWarp prst="textNoShape">
              <a:avLst/>
            </a:prstTxWarp>
            <a:normAutofit/>
          </a:bodyPr>
          <a:lstStyle/>
          <a:p>
            <a:pPr>
              <a:buClr>
                <a:srgbClr val="FC6800"/>
              </a:buClr>
              <a:buSzPct val="120000"/>
              <a:buFont typeface="Wingdings" pitchFamily="2" charset="2"/>
              <a:buChar char="ü"/>
            </a:pPr>
            <a:r>
              <a:rPr lang="de-DE" sz="30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de-DE" sz="22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População: </a:t>
            </a:r>
            <a:r>
              <a:rPr lang="en-US" sz="2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202,6 </a:t>
            </a:r>
            <a:r>
              <a:rPr lang="en-US" sz="2200" dirty="0" err="1" smtClean="0">
                <a:solidFill>
                  <a:schemeClr val="tx1"/>
                </a:solidFill>
                <a:latin typeface="Arial" charset="0"/>
                <a:cs typeface="Arial" charset="0"/>
              </a:rPr>
              <a:t>milhões</a:t>
            </a:r>
            <a:r>
              <a:rPr lang="en-US" sz="2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(Jul. 2014</a:t>
            </a:r>
            <a:r>
              <a:rPr lang="en-US" sz="26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)</a:t>
            </a:r>
          </a:p>
          <a:p>
            <a:pPr>
              <a:buClr>
                <a:srgbClr val="FC6800"/>
              </a:buClr>
              <a:buSzPct val="120000"/>
            </a:pPr>
            <a:r>
              <a:rPr lang="en-US" sz="15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6o</a:t>
            </a:r>
          </a:p>
          <a:p>
            <a:pPr>
              <a:buClr>
                <a:srgbClr val="FC6800"/>
              </a:buClr>
              <a:buSzPct val="120000"/>
              <a:buFont typeface="Wingdings" pitchFamily="2" charset="2"/>
              <a:buChar char="ü"/>
            </a:pPr>
            <a:r>
              <a:rPr lang="de-DE" sz="26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de-DE" sz="22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Crescimento Populacional:</a:t>
            </a:r>
            <a:r>
              <a:rPr lang="de-DE" sz="2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en-US" sz="2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0,8% (2014)</a:t>
            </a:r>
          </a:p>
          <a:p>
            <a:pPr>
              <a:buClr>
                <a:srgbClr val="FC6800"/>
              </a:buClr>
              <a:buSzPct val="120000"/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137o</a:t>
            </a:r>
          </a:p>
          <a:p>
            <a:pPr>
              <a:buClr>
                <a:srgbClr val="FC6800"/>
              </a:buClr>
              <a:buSzPct val="120000"/>
              <a:buFont typeface="Wingdings" pitchFamily="2" charset="2"/>
              <a:buChar char="ü"/>
            </a:pPr>
            <a:r>
              <a:rPr lang="de-DE" sz="26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de-DE" sz="2200" b="1" dirty="0" smtClean="0">
                <a:latin typeface="Arial" charset="0"/>
                <a:cs typeface="Arial" charset="0"/>
              </a:rPr>
              <a:t>Idade média</a:t>
            </a:r>
            <a:r>
              <a:rPr lang="de-DE" sz="22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:</a:t>
            </a:r>
            <a:r>
              <a:rPr lang="de-DE" sz="2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30,7 anos</a:t>
            </a:r>
          </a:p>
          <a:p>
            <a:pPr>
              <a:buClr>
                <a:srgbClr val="FC6800"/>
              </a:buClr>
              <a:buSzPct val="120000"/>
              <a:buFont typeface="Wingdings" pitchFamily="2" charset="2"/>
              <a:buChar char="ü"/>
            </a:pPr>
            <a:r>
              <a:rPr lang="de-DE" sz="22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Urbanização: </a:t>
            </a:r>
            <a:r>
              <a:rPr lang="de-DE" sz="2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84,6% da população(2011)</a:t>
            </a:r>
          </a:p>
          <a:p>
            <a:pPr marL="0" indent="0">
              <a:buClr>
                <a:srgbClr val="FC6800"/>
              </a:buClr>
              <a:buSzPct val="120000"/>
              <a:buNone/>
            </a:pPr>
            <a:endParaRPr lang="de-DE" sz="22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>
              <a:buClr>
                <a:srgbClr val="FC6800"/>
              </a:buClr>
              <a:buSzPct val="120000"/>
              <a:buFont typeface="Wingdings" pitchFamily="2" charset="2"/>
              <a:buChar char="ü"/>
            </a:pPr>
            <a:r>
              <a:rPr lang="de-DE" sz="22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de-DE" sz="2200" b="1" dirty="0" smtClean="0">
                <a:latin typeface="Arial" charset="0"/>
                <a:cs typeface="Arial" charset="0"/>
              </a:rPr>
              <a:t>PIB</a:t>
            </a:r>
            <a:r>
              <a:rPr lang="de-DE" sz="2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: </a:t>
            </a:r>
            <a:r>
              <a:rPr lang="en-US" sz="22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$2.416 trillion (2013)</a:t>
            </a:r>
          </a:p>
          <a:p>
            <a:pPr>
              <a:buClr>
                <a:srgbClr val="FC6800"/>
              </a:buClr>
              <a:buSzPct val="120000"/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8</a:t>
            </a:r>
            <a:r>
              <a:rPr lang="en-US" sz="1100" baseline="300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0</a:t>
            </a:r>
            <a:r>
              <a:rPr lang="en-US" sz="11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no </a:t>
            </a:r>
            <a:r>
              <a:rPr lang="en-US" sz="1100" dirty="0" err="1" smtClean="0">
                <a:solidFill>
                  <a:schemeClr val="tx1"/>
                </a:solidFill>
                <a:latin typeface="Arial" charset="0"/>
                <a:cs typeface="Arial" charset="0"/>
              </a:rPr>
              <a:t>mundo</a:t>
            </a:r>
            <a:endParaRPr lang="en-US" sz="11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>
              <a:buClr>
                <a:srgbClr val="FC6800"/>
              </a:buClr>
              <a:buSzPct val="120000"/>
              <a:buFont typeface="Wingdings" pitchFamily="2" charset="2"/>
              <a:buChar char="ü"/>
            </a:pPr>
            <a:r>
              <a:rPr lang="de-DE" sz="26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de-DE" sz="2400" b="1" dirty="0" smtClean="0">
                <a:latin typeface="Arial" charset="0"/>
                <a:cs typeface="Arial" charset="0"/>
              </a:rPr>
              <a:t>PIB Tx. Crescimento real</a:t>
            </a:r>
            <a:r>
              <a:rPr lang="de-DE" sz="24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:</a:t>
            </a:r>
            <a:r>
              <a:rPr lang="de-DE" sz="2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en-US" sz="2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2.3% (2013)</a:t>
            </a:r>
          </a:p>
          <a:p>
            <a:pPr>
              <a:buClr>
                <a:srgbClr val="FC6800"/>
              </a:buClr>
              <a:buSzPct val="120000"/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137</a:t>
            </a:r>
            <a:r>
              <a:rPr lang="en-US" sz="1100" baseline="300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0</a:t>
            </a:r>
            <a:r>
              <a:rPr lang="en-US" sz="11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 no </a:t>
            </a:r>
            <a:r>
              <a:rPr lang="en-US" sz="1100" dirty="0" err="1" smtClean="0">
                <a:solidFill>
                  <a:schemeClr val="tx1"/>
                </a:solidFill>
                <a:latin typeface="Arial" charset="0"/>
                <a:cs typeface="Arial" charset="0"/>
              </a:rPr>
              <a:t>mundo</a:t>
            </a:r>
            <a:endParaRPr lang="en-US" sz="11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>
              <a:buClr>
                <a:srgbClr val="FC6800"/>
              </a:buClr>
              <a:buSzPct val="120000"/>
              <a:buFont typeface="Wingdings" pitchFamily="2" charset="2"/>
              <a:buChar char="ü"/>
            </a:pPr>
            <a:r>
              <a:rPr lang="en-US" sz="26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r>
              <a:rPr lang="en-US" sz="2400" b="1" dirty="0" smtClean="0">
                <a:latin typeface="Arial" charset="0"/>
                <a:cs typeface="Arial" charset="0"/>
              </a:rPr>
              <a:t>PIB</a:t>
            </a:r>
            <a:r>
              <a:rPr lang="en-US" sz="2400" b="1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per capita: </a:t>
            </a:r>
            <a:r>
              <a:rPr lang="en-US" sz="24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$12,100 (2013)</a:t>
            </a:r>
          </a:p>
          <a:p>
            <a:pPr>
              <a:buClr>
                <a:srgbClr val="FC6800"/>
              </a:buClr>
              <a:buSzPct val="120000"/>
            </a:pPr>
            <a:r>
              <a:rPr lang="en-US" sz="11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105</a:t>
            </a:r>
            <a:r>
              <a:rPr lang="en-US" sz="1100" baseline="300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0  </a:t>
            </a:r>
            <a:r>
              <a:rPr lang="en-US" sz="1100" dirty="0" smtClean="0">
                <a:solidFill>
                  <a:schemeClr val="tx1"/>
                </a:solidFill>
                <a:latin typeface="Arial" charset="0"/>
                <a:cs typeface="Arial" charset="0"/>
              </a:rPr>
              <a:t> no </a:t>
            </a:r>
            <a:r>
              <a:rPr lang="en-US" sz="1100" dirty="0" err="1" smtClean="0">
                <a:solidFill>
                  <a:schemeClr val="tx1"/>
                </a:solidFill>
                <a:latin typeface="Arial" charset="0"/>
                <a:cs typeface="Arial" charset="0"/>
              </a:rPr>
              <a:t>mundo</a:t>
            </a:r>
            <a:endParaRPr lang="de-DE" sz="1100" dirty="0" smtClean="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pic>
        <p:nvPicPr>
          <p:cNvPr id="12" name="Picture 2" descr="http://www.guiageo.com/pictures/brasil-politico.jpg"/>
          <p:cNvPicPr>
            <a:picLocks noChangeAspect="1" noChangeArrowheads="1"/>
          </p:cNvPicPr>
          <p:nvPr/>
        </p:nvPicPr>
        <p:blipFill>
          <a:blip r:embed="rId3" cstate="print">
            <a:lum bright="-10000" contrast="20000"/>
          </a:blip>
          <a:srcRect/>
          <a:stretch>
            <a:fillRect/>
          </a:stretch>
        </p:blipFill>
        <p:spPr bwMode="auto">
          <a:xfrm>
            <a:off x="344420" y="1628801"/>
            <a:ext cx="2662613" cy="253267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031" name="Picture 7" descr="http://www.abracoaching.com.br/wp-content/uploads/2011/05/Rio-de-Janeiro.jpg"/>
          <p:cNvPicPr>
            <a:picLocks noChangeAspect="1" noChangeArrowheads="1"/>
          </p:cNvPicPr>
          <p:nvPr/>
        </p:nvPicPr>
        <p:blipFill>
          <a:blip r:embed="rId4" cstate="print"/>
          <a:srcRect l="9947" t="7672" r="9177" b="5763"/>
          <a:stretch>
            <a:fillRect/>
          </a:stretch>
        </p:blipFill>
        <p:spPr bwMode="auto">
          <a:xfrm>
            <a:off x="344272" y="4365104"/>
            <a:ext cx="2662909" cy="187220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8" name="Titel 1"/>
          <p:cNvSpPr txBox="1">
            <a:spLocks/>
          </p:cNvSpPr>
          <p:nvPr/>
        </p:nvSpPr>
        <p:spPr bwMode="gray">
          <a:xfrm>
            <a:off x="476250" y="412750"/>
            <a:ext cx="633571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de-DE" sz="3200" b="1" dirty="0" smtClean="0"/>
              <a:t>Brasil</a:t>
            </a:r>
            <a:r>
              <a:rPr lang="de-DE" sz="3200" b="1" dirty="0"/>
              <a:t/>
            </a:r>
            <a:br>
              <a:rPr lang="de-DE" sz="3200" b="1" dirty="0"/>
            </a:br>
            <a:r>
              <a:rPr lang="en-US" sz="2400" b="1" dirty="0" err="1" smtClean="0">
                <a:latin typeface="Arial" charset="0"/>
              </a:rPr>
              <a:t>Fonte</a:t>
            </a:r>
            <a:r>
              <a:rPr lang="en-US" sz="2400" b="1" dirty="0" smtClean="0">
                <a:latin typeface="Arial" charset="0"/>
              </a:rPr>
              <a:t> : </a:t>
            </a:r>
            <a:r>
              <a:rPr lang="en-US" sz="2400" b="1" dirty="0">
                <a:latin typeface="Arial" charset="0"/>
              </a:rPr>
              <a:t>the CIA World Fact Book</a:t>
            </a:r>
            <a:endParaRPr lang="de-DE" sz="3200" b="1" dirty="0"/>
          </a:p>
        </p:txBody>
      </p:sp>
    </p:spTree>
    <p:extLst>
      <p:ext uri="{BB962C8B-B14F-4D97-AF65-F5344CB8AC3E}">
        <p14:creationId xmlns:p14="http://schemas.microsoft.com/office/powerpoint/2010/main" xmlns="" val="8331277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5224" y="1093465"/>
            <a:ext cx="7524750" cy="269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7707" y="3875403"/>
            <a:ext cx="7553325" cy="273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196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4803" y="1237976"/>
            <a:ext cx="1116000" cy="11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6197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2145" y="4082440"/>
            <a:ext cx="1115566" cy="1115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" name="Conector reto 2"/>
          <p:cNvCxnSpPr/>
          <p:nvPr/>
        </p:nvCxnSpPr>
        <p:spPr>
          <a:xfrm>
            <a:off x="118177" y="5315496"/>
            <a:ext cx="7260277" cy="0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/>
          <p:nvPr/>
        </p:nvCxnSpPr>
        <p:spPr>
          <a:xfrm>
            <a:off x="105477" y="2550616"/>
            <a:ext cx="7260277" cy="0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upo 7"/>
          <p:cNvGrpSpPr/>
          <p:nvPr/>
        </p:nvGrpSpPr>
        <p:grpSpPr>
          <a:xfrm>
            <a:off x="4714917" y="4581128"/>
            <a:ext cx="815991" cy="585598"/>
            <a:chOff x="4030667" y="4754462"/>
            <a:chExt cx="815991" cy="585598"/>
          </a:xfrm>
        </p:grpSpPr>
        <p:sp>
          <p:nvSpPr>
            <p:cNvPr id="17" name="Seta para baixo 16"/>
            <p:cNvSpPr/>
            <p:nvPr/>
          </p:nvSpPr>
          <p:spPr bwMode="gray">
            <a:xfrm rot="10800000">
              <a:off x="4030667" y="4754462"/>
              <a:ext cx="815991" cy="585598"/>
            </a:xfrm>
            <a:prstGeom prst="downArrow">
              <a:avLst>
                <a:gd name="adj1" fmla="val 71345"/>
                <a:gd name="adj2" fmla="val 50000"/>
              </a:avLst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n-US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" name="CaixaDeTexto 5"/>
            <p:cNvSpPr txBox="1"/>
            <p:nvPr/>
          </p:nvSpPr>
          <p:spPr>
            <a:xfrm>
              <a:off x="4114627" y="4963773"/>
              <a:ext cx="648072" cy="3095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pt-BR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+18%</a:t>
              </a:r>
              <a:endParaRPr lang="en-US" sz="16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4" name="Retângulo 3"/>
          <p:cNvSpPr/>
          <p:nvPr/>
        </p:nvSpPr>
        <p:spPr>
          <a:xfrm>
            <a:off x="7668344" y="1052736"/>
            <a:ext cx="1399714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18" name="CaixaDeTexto 1"/>
          <p:cNvSpPr txBox="1">
            <a:spLocks noChangeArrowheads="1"/>
          </p:cNvSpPr>
          <p:nvPr/>
        </p:nvSpPr>
        <p:spPr bwMode="auto">
          <a:xfrm>
            <a:off x="107255" y="6658371"/>
            <a:ext cx="878522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</a:pPr>
            <a:r>
              <a:rPr lang="pt-BR" sz="800" dirty="0" err="1" smtClean="0">
                <a:solidFill>
                  <a:schemeClr val="bg1">
                    <a:lumMod val="50000"/>
                  </a:schemeClr>
                </a:solidFill>
              </a:rPr>
              <a:t>Source</a:t>
            </a:r>
            <a:r>
              <a:rPr lang="pt-BR" sz="800" dirty="0" smtClean="0">
                <a:solidFill>
                  <a:schemeClr val="bg1">
                    <a:lumMod val="50000"/>
                  </a:schemeClr>
                </a:solidFill>
              </a:rPr>
              <a:t>: http://br.financas.yahoo.com</a:t>
            </a:r>
            <a:endParaRPr lang="pt-BR" sz="800" dirty="0">
              <a:solidFill>
                <a:schemeClr val="bg1">
                  <a:lumMod val="50000"/>
                </a:schemeClr>
              </a:solidFill>
            </a:endParaRPr>
          </a:p>
          <a:p>
            <a:pPr eaLnBrk="1" hangingPunct="1">
              <a:spcBef>
                <a:spcPts val="300"/>
              </a:spcBef>
            </a:pPr>
            <a:endParaRPr lang="pt-BR" sz="800" dirty="0">
              <a:solidFill>
                <a:schemeClr val="bg1">
                  <a:lumMod val="50000"/>
                </a:schemeClr>
              </a:solidFill>
            </a:endParaRPr>
          </a:p>
          <a:p>
            <a:pPr eaLnBrk="1" hangingPunct="1">
              <a:spcBef>
                <a:spcPts val="300"/>
              </a:spcBef>
            </a:pP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714917" y="1700809"/>
            <a:ext cx="815991" cy="585598"/>
            <a:chOff x="4620105" y="1700809"/>
            <a:chExt cx="815991" cy="585598"/>
          </a:xfrm>
        </p:grpSpPr>
        <p:sp>
          <p:nvSpPr>
            <p:cNvPr id="22" name="Seta para baixo 21"/>
            <p:cNvSpPr/>
            <p:nvPr/>
          </p:nvSpPr>
          <p:spPr bwMode="gray">
            <a:xfrm rot="10800000">
              <a:off x="4620105" y="1700809"/>
              <a:ext cx="815991" cy="585598"/>
            </a:xfrm>
            <a:prstGeom prst="downArrow">
              <a:avLst>
                <a:gd name="adj1" fmla="val 71345"/>
                <a:gd name="adj2" fmla="val 50000"/>
              </a:avLst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n-US" sz="1600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CaixaDeTexto 22"/>
            <p:cNvSpPr txBox="1"/>
            <p:nvPr/>
          </p:nvSpPr>
          <p:spPr>
            <a:xfrm>
              <a:off x="4704065" y="1910120"/>
              <a:ext cx="648072" cy="30951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pt-BR" sz="16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+25%</a:t>
              </a:r>
              <a:endParaRPr lang="en-US" sz="16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0" name="Titel 1"/>
          <p:cNvSpPr txBox="1">
            <a:spLocks/>
          </p:cNvSpPr>
          <p:nvPr/>
        </p:nvSpPr>
        <p:spPr bwMode="gray">
          <a:xfrm>
            <a:off x="323528" y="404664"/>
            <a:ext cx="8591808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pt-BR" sz="2800" b="1" dirty="0"/>
              <a:t>Fatos econômicos e </a:t>
            </a:r>
            <a:r>
              <a:rPr lang="pt-BR" sz="2800" b="1" dirty="0" smtClean="0"/>
              <a:t>sociais -  </a:t>
            </a:r>
            <a:r>
              <a:rPr lang="pt-BR" sz="2800" b="1" dirty="0"/>
              <a:t>As taxas de câmbio</a:t>
            </a:r>
            <a:endParaRPr lang="de-DE" sz="2800" b="1" dirty="0"/>
          </a:p>
        </p:txBody>
      </p:sp>
      <p:sp>
        <p:nvSpPr>
          <p:cNvPr id="19" name="Retângulo 18"/>
          <p:cNvSpPr>
            <a:spLocks noChangeArrowheads="1"/>
          </p:cNvSpPr>
          <p:nvPr/>
        </p:nvSpPr>
        <p:spPr bwMode="auto">
          <a:xfrm>
            <a:off x="7691747" y="3267520"/>
            <a:ext cx="1376311" cy="276999"/>
          </a:xfrm>
          <a:prstGeom prst="rect">
            <a:avLst/>
          </a:prstGeom>
          <a:solidFill>
            <a:schemeClr val="bg1"/>
          </a:solidFill>
          <a:extLst/>
        </p:spPr>
        <p:txBody>
          <a:bodyPr wrap="square">
            <a:spAutoFit/>
          </a:bodyPr>
          <a:lstStyle/>
          <a:p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4665712" y="100243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pt-BR" sz="1600" b="1" dirty="0" smtClean="0">
                <a:latin typeface="Arial" pitchFamily="34" charset="0"/>
                <a:cs typeface="Arial" pitchFamily="34" charset="0"/>
              </a:rPr>
              <a:t>Últimos</a:t>
            </a:r>
            <a:endParaRPr lang="pt-BR" sz="1600" b="1" dirty="0">
              <a:latin typeface="Arial" pitchFamily="34" charset="0"/>
              <a:cs typeface="Arial" pitchFamily="34" charset="0"/>
            </a:endParaRPr>
          </a:p>
          <a:p>
            <a:pPr algn="ctr">
              <a:spcBef>
                <a:spcPts val="300"/>
              </a:spcBef>
            </a:pPr>
            <a:r>
              <a:rPr lang="pt-BR" sz="1600" b="1" dirty="0" smtClean="0">
                <a:latin typeface="Arial" pitchFamily="34" charset="0"/>
                <a:cs typeface="Arial" pitchFamily="34" charset="0"/>
              </a:rPr>
              <a:t>12 meses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7956376" y="335699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Produção Local</a:t>
            </a:r>
          </a:p>
          <a:p>
            <a:pPr algn="ctr">
              <a:spcBef>
                <a:spcPts val="300"/>
              </a:spcBef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x </a:t>
            </a:r>
          </a:p>
          <a:p>
            <a:pPr algn="ctr">
              <a:spcBef>
                <a:spcPts val="300"/>
              </a:spcBef>
            </a:pPr>
            <a:r>
              <a:rPr lang="pt-BR" sz="1400" dirty="0" smtClean="0">
                <a:latin typeface="Arial" pitchFamily="34" charset="0"/>
                <a:cs typeface="Arial" pitchFamily="34" charset="0"/>
              </a:rPr>
              <a:t>Bens Importados</a:t>
            </a:r>
            <a:endParaRPr lang="en-US" sz="1400" dirty="0" err="1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069849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0191" y="10633"/>
            <a:ext cx="9172048" cy="6858000"/>
          </a:xfrm>
          <a:prstGeom prst="rect">
            <a:avLst/>
          </a:prstGeom>
          <a:solidFill>
            <a:srgbClr val="FF0000"/>
          </a:solidFill>
        </p:spPr>
      </p:pic>
      <p:sp>
        <p:nvSpPr>
          <p:cNvPr id="6" name="Retângulo 5"/>
          <p:cNvSpPr/>
          <p:nvPr/>
        </p:nvSpPr>
        <p:spPr>
          <a:xfrm>
            <a:off x="46817" y="25460"/>
            <a:ext cx="90950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 smtClean="0">
                <a:latin typeface="+mj-lt"/>
              </a:rPr>
              <a:t>Indicadores </a:t>
            </a:r>
            <a:r>
              <a:rPr lang="pt-BR" sz="2800" b="1" dirty="0">
                <a:latin typeface="+mj-lt"/>
              </a:rPr>
              <a:t>macroeconômicos: Inflação </a:t>
            </a:r>
            <a:r>
              <a:rPr lang="pt-BR" sz="2800" b="1" dirty="0" smtClean="0">
                <a:latin typeface="+mj-lt"/>
              </a:rPr>
              <a:t>&amp; </a:t>
            </a:r>
            <a:r>
              <a:rPr lang="pt-BR" sz="2800" b="1" dirty="0">
                <a:latin typeface="+mj-lt"/>
              </a:rPr>
              <a:t>Taxa de Juros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143125" y="838453"/>
            <a:ext cx="70482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latin typeface="+mj-lt"/>
              </a:rPr>
              <a:t>A inflação reduziu o poder de compra e </a:t>
            </a:r>
            <a:r>
              <a:rPr lang="pt-BR" dirty="0" smtClean="0">
                <a:latin typeface="+mj-lt"/>
              </a:rPr>
              <a:t>ciclo </a:t>
            </a:r>
            <a:r>
              <a:rPr lang="pt-BR" dirty="0">
                <a:latin typeface="+mj-lt"/>
              </a:rPr>
              <a:t>de subida das taxas de </a:t>
            </a:r>
            <a:r>
              <a:rPr lang="pt-BR" dirty="0" smtClean="0">
                <a:latin typeface="+mj-lt"/>
              </a:rPr>
              <a:t>juros, penalizando aos consumidores que usam </a:t>
            </a:r>
            <a:r>
              <a:rPr lang="pt-BR" dirty="0">
                <a:latin typeface="+mj-lt"/>
              </a:rPr>
              <a:t>linhas de </a:t>
            </a:r>
            <a:r>
              <a:rPr lang="pt-BR" dirty="0" smtClean="0">
                <a:latin typeface="+mj-lt"/>
              </a:rPr>
              <a:t>crédito.</a:t>
            </a:r>
            <a:endParaRPr lang="pt-BR" sz="1600" dirty="0" smtClean="0">
              <a:latin typeface="+mj-lt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233851" y="1619766"/>
            <a:ext cx="4316334" cy="2383418"/>
            <a:chOff x="220175" y="1519946"/>
            <a:chExt cx="4316334" cy="2383418"/>
          </a:xfrm>
        </p:grpSpPr>
        <p:sp>
          <p:nvSpPr>
            <p:cNvPr id="29" name="CaixaDeTexto 28"/>
            <p:cNvSpPr txBox="1"/>
            <p:nvPr/>
          </p:nvSpPr>
          <p:spPr>
            <a:xfrm>
              <a:off x="259503" y="3635780"/>
              <a:ext cx="2770842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800" b="1" dirty="0" smtClean="0"/>
                <a:t>IPCA (IBGE) / </a:t>
              </a:r>
              <a:r>
                <a:rPr lang="pt-BR" sz="800" b="1" dirty="0">
                  <a:latin typeface="+mj-lt"/>
                </a:rPr>
                <a:t>*</a:t>
              </a:r>
              <a:r>
                <a:rPr lang="pt-BR" sz="800" b="1" dirty="0" err="1">
                  <a:latin typeface="+mj-lt"/>
                </a:rPr>
                <a:t>Accumulated</a:t>
              </a:r>
              <a:r>
                <a:rPr lang="pt-BR" sz="800" b="1" dirty="0">
                  <a:latin typeface="+mj-lt"/>
                </a:rPr>
                <a:t> </a:t>
              </a:r>
              <a:r>
                <a:rPr lang="pt-BR" sz="800" b="1" dirty="0" err="1">
                  <a:latin typeface="+mj-lt"/>
                </a:rPr>
                <a:t>until</a:t>
              </a:r>
              <a:r>
                <a:rPr lang="pt-BR" sz="800" b="1" dirty="0">
                  <a:latin typeface="+mj-lt"/>
                </a:rPr>
                <a:t> </a:t>
              </a:r>
              <a:r>
                <a:rPr lang="pt-BR" sz="800" b="1" dirty="0" err="1">
                  <a:latin typeface="+mj-lt"/>
                </a:rPr>
                <a:t>June</a:t>
              </a:r>
              <a:r>
                <a:rPr lang="pt-BR" sz="800" b="1" dirty="0">
                  <a:latin typeface="+mj-lt"/>
                </a:rPr>
                <a:t> / 2014</a:t>
              </a:r>
              <a:endParaRPr lang="pt-BR" sz="800" b="1" dirty="0">
                <a:solidFill>
                  <a:srgbClr val="FF0000"/>
                </a:solidFill>
                <a:latin typeface="Insight print" pitchFamily="50" charset="0"/>
              </a:endParaRPr>
            </a:p>
          </p:txBody>
        </p:sp>
        <p:sp>
          <p:nvSpPr>
            <p:cNvPr id="39" name="Retângulo 38"/>
            <p:cNvSpPr/>
            <p:nvPr/>
          </p:nvSpPr>
          <p:spPr>
            <a:xfrm>
              <a:off x="220175" y="1619296"/>
              <a:ext cx="4316334" cy="2284068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sp>
          <p:nvSpPr>
            <p:cNvPr id="40" name="AutoShape 3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20175" y="1519946"/>
              <a:ext cx="1650439" cy="27901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90000" tIns="46800" rIns="90000" bIns="46800" anchor="ctr"/>
            <a:lstStyle/>
            <a:p>
              <a:pPr>
                <a:spcBef>
                  <a:spcPts val="600"/>
                </a:spcBef>
                <a:buFont typeface="Arial" pitchFamily="34" charset="0"/>
                <a:buNone/>
              </a:pPr>
              <a:r>
                <a:rPr lang="en-US" sz="1400" b="1" noProof="1" smtClean="0">
                  <a:solidFill>
                    <a:schemeClr val="bg1"/>
                  </a:solidFill>
                  <a:latin typeface="+mj-lt"/>
                </a:rPr>
                <a:t>Inflation (%)</a:t>
              </a:r>
              <a:endParaRPr lang="en-US" sz="1400" b="1" noProof="1">
                <a:solidFill>
                  <a:schemeClr val="bg1"/>
                </a:solidFill>
                <a:latin typeface="+mj-lt"/>
              </a:endParaRPr>
            </a:p>
          </p:txBody>
        </p:sp>
        <p:graphicFrame>
          <p:nvGraphicFramePr>
            <p:cNvPr id="4" name="Gráfico 3"/>
            <p:cNvGraphicFramePr/>
            <p:nvPr>
              <p:extLst>
                <p:ext uri="{D42A27DB-BD31-4B8C-83A1-F6EECF244321}">
                  <p14:modId xmlns:p14="http://schemas.microsoft.com/office/powerpoint/2010/main" xmlns="" val="3359000891"/>
                </p:ext>
              </p:extLst>
            </p:nvPr>
          </p:nvGraphicFramePr>
          <p:xfrm>
            <a:off x="220175" y="1691157"/>
            <a:ext cx="4310465" cy="192216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</p:grpSp>
      <p:sp>
        <p:nvSpPr>
          <p:cNvPr id="13" name="Retângulo 12"/>
          <p:cNvSpPr/>
          <p:nvPr/>
        </p:nvSpPr>
        <p:spPr>
          <a:xfrm>
            <a:off x="5383205" y="3008892"/>
            <a:ext cx="261481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Aft>
                <a:spcPts val="600"/>
              </a:spcAft>
            </a:pPr>
            <a:r>
              <a:rPr lang="pt-BR" sz="800" b="1" dirty="0" err="1" smtClean="0"/>
              <a:t>Source</a:t>
            </a:r>
            <a:r>
              <a:rPr lang="pt-BR" sz="800" b="1" dirty="0" smtClean="0"/>
              <a:t>: Boletim </a:t>
            </a:r>
            <a:r>
              <a:rPr lang="pt-BR" sz="800" b="1" dirty="0"/>
              <a:t>Focus, Banco Central (</a:t>
            </a:r>
            <a:r>
              <a:rPr lang="pt-BR" sz="800" b="1" dirty="0" err="1"/>
              <a:t>Ago</a:t>
            </a:r>
            <a:r>
              <a:rPr lang="pt-BR" sz="800" b="1" dirty="0"/>
              <a:t>/2014)</a:t>
            </a:r>
            <a:endParaRPr lang="en-US" sz="800" b="1" dirty="0"/>
          </a:p>
        </p:txBody>
      </p:sp>
      <p:sp>
        <p:nvSpPr>
          <p:cNvPr id="15" name="Retângulo de cantos arredondados 14"/>
          <p:cNvSpPr/>
          <p:nvPr/>
        </p:nvSpPr>
        <p:spPr>
          <a:xfrm>
            <a:off x="3908484" y="2344279"/>
            <a:ext cx="543249" cy="1391321"/>
          </a:xfrm>
          <a:prstGeom prst="roundRect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lipse 15"/>
          <p:cNvSpPr/>
          <p:nvPr/>
        </p:nvSpPr>
        <p:spPr>
          <a:xfrm>
            <a:off x="5418470" y="1902864"/>
            <a:ext cx="914400" cy="914400"/>
          </a:xfrm>
          <a:prstGeom prst="ellipse">
            <a:avLst/>
          </a:prstGeom>
          <a:solidFill>
            <a:srgbClr val="002060"/>
          </a:solidFill>
          <a:ln>
            <a:solidFill>
              <a:schemeClr val="bg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6490593" y="2158211"/>
            <a:ext cx="18044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cap="small" dirty="0" err="1">
                <a:solidFill>
                  <a:schemeClr val="tx2"/>
                </a:solidFill>
              </a:rPr>
              <a:t>Projection</a:t>
            </a:r>
            <a:r>
              <a:rPr lang="pt-BR" sz="1400" b="1" cap="small" dirty="0">
                <a:solidFill>
                  <a:schemeClr val="tx2"/>
                </a:solidFill>
              </a:rPr>
              <a:t> </a:t>
            </a:r>
            <a:r>
              <a:rPr lang="pt-BR" sz="1400" b="1" cap="small" dirty="0" err="1">
                <a:solidFill>
                  <a:schemeClr val="tx2"/>
                </a:solidFill>
              </a:rPr>
              <a:t>of</a:t>
            </a:r>
            <a:r>
              <a:rPr lang="pt-BR" sz="1400" b="1" cap="small" dirty="0">
                <a:solidFill>
                  <a:schemeClr val="tx2"/>
                </a:solidFill>
              </a:rPr>
              <a:t> </a:t>
            </a:r>
            <a:r>
              <a:rPr lang="pt-BR" sz="1400" b="1" cap="small" dirty="0" err="1">
                <a:solidFill>
                  <a:schemeClr val="tx2"/>
                </a:solidFill>
              </a:rPr>
              <a:t>Inflation</a:t>
            </a:r>
            <a:r>
              <a:rPr lang="pt-BR" sz="1400" b="1" cap="small" dirty="0">
                <a:solidFill>
                  <a:schemeClr val="tx2"/>
                </a:solidFill>
              </a:rPr>
              <a:t> 2014</a:t>
            </a:r>
          </a:p>
        </p:txBody>
      </p:sp>
      <p:cxnSp>
        <p:nvCxnSpPr>
          <p:cNvPr id="18" name="Conector de seta reta 17"/>
          <p:cNvCxnSpPr/>
          <p:nvPr/>
        </p:nvCxnSpPr>
        <p:spPr>
          <a:xfrm>
            <a:off x="4550185" y="2349886"/>
            <a:ext cx="651694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 11"/>
          <p:cNvSpPr/>
          <p:nvPr/>
        </p:nvSpPr>
        <p:spPr>
          <a:xfrm>
            <a:off x="5492392" y="2129232"/>
            <a:ext cx="766557" cy="461665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600" b="1" dirty="0">
                <a:solidFill>
                  <a:schemeClr val="bg1"/>
                </a:solidFill>
              </a:rPr>
              <a:t>6,39%</a:t>
            </a:r>
            <a:endParaRPr lang="pt-BR" sz="1050" b="1" dirty="0">
              <a:solidFill>
                <a:schemeClr val="bg1"/>
              </a:solidFill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4730956" y="6531032"/>
            <a:ext cx="35192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err="1" smtClean="0">
                <a:latin typeface="+mj-lt"/>
              </a:rPr>
              <a:t>Source</a:t>
            </a:r>
            <a:r>
              <a:rPr lang="pt-BR" sz="800" b="1" dirty="0" smtClean="0">
                <a:latin typeface="+mj-lt"/>
              </a:rPr>
              <a:t>:  Banco Central, </a:t>
            </a:r>
            <a:r>
              <a:rPr lang="pt-BR" sz="800" b="1" dirty="0" err="1">
                <a:latin typeface="+mj-lt"/>
              </a:rPr>
              <a:t>History</a:t>
            </a:r>
            <a:r>
              <a:rPr lang="pt-BR" sz="800" b="1" dirty="0">
                <a:latin typeface="+mj-lt"/>
              </a:rPr>
              <a:t> </a:t>
            </a:r>
            <a:r>
              <a:rPr lang="pt-BR" sz="800" b="1" dirty="0" err="1">
                <a:latin typeface="+mj-lt"/>
              </a:rPr>
              <a:t>of</a:t>
            </a:r>
            <a:r>
              <a:rPr lang="pt-BR" sz="800" b="1" dirty="0">
                <a:latin typeface="+mj-lt"/>
              </a:rPr>
              <a:t> </a:t>
            </a:r>
            <a:r>
              <a:rPr lang="pt-BR" sz="800" b="1" dirty="0" err="1">
                <a:latin typeface="+mj-lt"/>
              </a:rPr>
              <a:t>Interest</a:t>
            </a:r>
            <a:r>
              <a:rPr lang="pt-BR" sz="800" b="1" dirty="0">
                <a:latin typeface="+mj-lt"/>
              </a:rPr>
              <a:t> Rates</a:t>
            </a:r>
          </a:p>
        </p:txBody>
      </p:sp>
      <p:sp>
        <p:nvSpPr>
          <p:cNvPr id="23" name="Rechteck 17"/>
          <p:cNvSpPr/>
          <p:nvPr>
            <p:custDataLst>
              <p:tags r:id="rId1"/>
            </p:custDataLst>
          </p:nvPr>
        </p:nvSpPr>
        <p:spPr bwMode="gray">
          <a:xfrm>
            <a:off x="4730956" y="4398033"/>
            <a:ext cx="4189090" cy="2345759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4" name="AutoShape 33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30957" y="4255852"/>
            <a:ext cx="2900484" cy="284362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200" b="1" noProof="1">
                <a:solidFill>
                  <a:schemeClr val="bg1"/>
                </a:solidFill>
                <a:latin typeface="+mj-lt"/>
              </a:rPr>
              <a:t>Basic Interest Rate a.a</a:t>
            </a:r>
            <a:r>
              <a:rPr lang="en-US" sz="1200" b="1" noProof="1" smtClean="0">
                <a:solidFill>
                  <a:schemeClr val="bg1"/>
                </a:solidFill>
                <a:latin typeface="+mj-lt"/>
              </a:rPr>
              <a:t>. - Selic (%)</a:t>
            </a:r>
            <a:endParaRPr lang="en-US" sz="1200" b="1" noProof="1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25" name="Gráfico 24"/>
          <p:cNvGraphicFramePr/>
          <p:nvPr>
            <p:extLst>
              <p:ext uri="{D42A27DB-BD31-4B8C-83A1-F6EECF244321}">
                <p14:modId xmlns:p14="http://schemas.microsoft.com/office/powerpoint/2010/main" xmlns="" val="1713828580"/>
              </p:ext>
            </p:extLst>
          </p:nvPr>
        </p:nvGraphicFramePr>
        <p:xfrm>
          <a:off x="4662774" y="4626618"/>
          <a:ext cx="4310465" cy="1922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6" name="Gráfico 25"/>
          <p:cNvGraphicFramePr/>
          <p:nvPr>
            <p:extLst>
              <p:ext uri="{D42A27DB-BD31-4B8C-83A1-F6EECF244321}">
                <p14:modId xmlns:p14="http://schemas.microsoft.com/office/powerpoint/2010/main" xmlns="" val="1596238984"/>
              </p:ext>
            </p:extLst>
          </p:nvPr>
        </p:nvGraphicFramePr>
        <p:xfrm>
          <a:off x="196449" y="4639739"/>
          <a:ext cx="4310465" cy="1922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7" name="CaixaDeTexto 26"/>
          <p:cNvSpPr txBox="1"/>
          <p:nvPr/>
        </p:nvSpPr>
        <p:spPr>
          <a:xfrm>
            <a:off x="189007" y="6531032"/>
            <a:ext cx="351927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800" b="1" dirty="0" err="1" smtClean="0">
                <a:latin typeface="+mj-lt"/>
              </a:rPr>
              <a:t>Source</a:t>
            </a:r>
            <a:r>
              <a:rPr lang="pt-BR" sz="800" b="1" dirty="0" smtClean="0">
                <a:latin typeface="+mj-lt"/>
              </a:rPr>
              <a:t>:  Banco Central</a:t>
            </a:r>
            <a:endParaRPr lang="pt-BR" sz="800" b="1" dirty="0">
              <a:latin typeface="+mj-lt"/>
            </a:endParaRPr>
          </a:p>
        </p:txBody>
      </p:sp>
      <p:sp>
        <p:nvSpPr>
          <p:cNvPr id="28" name="Rechteck 17"/>
          <p:cNvSpPr/>
          <p:nvPr>
            <p:custDataLst>
              <p:tags r:id="rId3"/>
            </p:custDataLst>
          </p:nvPr>
        </p:nvSpPr>
        <p:spPr bwMode="gray">
          <a:xfrm>
            <a:off x="208441" y="4398033"/>
            <a:ext cx="4341744" cy="234844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endParaRPr lang="en-US" sz="1600" dirty="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0" name="AutoShape 3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08441" y="4255852"/>
            <a:ext cx="3830379" cy="284362"/>
          </a:xfrm>
          <a:prstGeom prst="rect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 anchor="ctr"/>
          <a:lstStyle/>
          <a:p>
            <a:pPr>
              <a:spcBef>
                <a:spcPts val="600"/>
              </a:spcBef>
              <a:buFont typeface="Arial" pitchFamily="34" charset="0"/>
              <a:buNone/>
            </a:pPr>
            <a:r>
              <a:rPr lang="en-US" sz="1200" b="1" noProof="1">
                <a:solidFill>
                  <a:schemeClr val="bg1"/>
                </a:solidFill>
                <a:latin typeface="+mj-lt"/>
              </a:rPr>
              <a:t>Average interest rate of </a:t>
            </a:r>
            <a:r>
              <a:rPr lang="en-US" sz="1200" b="1" noProof="1" smtClean="0">
                <a:solidFill>
                  <a:schemeClr val="bg1"/>
                </a:solidFill>
                <a:latin typeface="+mj-lt"/>
              </a:rPr>
              <a:t>loans (%)</a:t>
            </a:r>
            <a:endParaRPr lang="en-US" sz="1200" b="1" noProof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918535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Provocações...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t-BR" dirty="0" smtClean="0"/>
              <a:t>Por </a:t>
            </a:r>
            <a:r>
              <a:rPr lang="pt-BR" dirty="0"/>
              <a:t>que as </a:t>
            </a:r>
            <a:r>
              <a:rPr lang="pt-BR" dirty="0" smtClean="0"/>
              <a:t>Instituições </a:t>
            </a:r>
            <a:r>
              <a:rPr lang="pt-BR" dirty="0"/>
              <a:t>resistem às melhorias? </a:t>
            </a:r>
          </a:p>
          <a:p>
            <a:r>
              <a:rPr lang="pt-BR" dirty="0"/>
              <a:t>Será que as </a:t>
            </a:r>
            <a:r>
              <a:rPr lang="pt-BR" dirty="0" smtClean="0"/>
              <a:t>Instituições </a:t>
            </a:r>
            <a:r>
              <a:rPr lang="pt-BR" dirty="0"/>
              <a:t>não possuem número de computadores suficientes em sala de aula? </a:t>
            </a:r>
            <a:endParaRPr lang="pt-BR" dirty="0" smtClean="0"/>
          </a:p>
          <a:p>
            <a:r>
              <a:rPr lang="pt-BR" dirty="0" smtClean="0"/>
              <a:t>E os custos de manutenção das Instituições?</a:t>
            </a:r>
          </a:p>
          <a:p>
            <a:r>
              <a:rPr lang="pt-BR" dirty="0" smtClean="0"/>
              <a:t>Inteligências </a:t>
            </a:r>
            <a:r>
              <a:rPr lang="pt-BR" dirty="0"/>
              <a:t>e seus diferentes modos de aprendizagem em uma sala de aula? O que fazer para realizar </a:t>
            </a:r>
            <a:r>
              <a:rPr lang="pt-BR" dirty="0" smtClean="0"/>
              <a:t>uma </a:t>
            </a:r>
            <a:r>
              <a:rPr lang="pt-BR" dirty="0"/>
              <a:t>inovação de ruptura nas </a:t>
            </a:r>
            <a:r>
              <a:rPr lang="pt-BR" dirty="0" smtClean="0"/>
              <a:t>Instituições Públicas e/ou Privadas? </a:t>
            </a:r>
            <a:endParaRPr lang="pt-BR" dirty="0"/>
          </a:p>
          <a:p>
            <a:r>
              <a:rPr lang="pt-BR" dirty="0" smtClean="0"/>
              <a:t>A educação Online, já </a:t>
            </a:r>
            <a:r>
              <a:rPr lang="pt-BR" dirty="0"/>
              <a:t>chega com </a:t>
            </a:r>
            <a:r>
              <a:rPr lang="pt-BR" dirty="0" smtClean="0"/>
              <a:t>atraso?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2805695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Displaying Folheto Eduzz CIAED - Frente - Op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83768" y="692180"/>
            <a:ext cx="4104456" cy="5955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841213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0536" t="21006" r="-1" b="31294"/>
          <a:stretch/>
        </p:blipFill>
        <p:spPr>
          <a:xfrm>
            <a:off x="12257" y="1985163"/>
            <a:ext cx="3622982" cy="2926923"/>
          </a:xfrm>
          <a:prstGeom prst="rect">
            <a:avLst/>
          </a:prstGeom>
        </p:spPr>
      </p:pic>
      <p:pic>
        <p:nvPicPr>
          <p:cNvPr id="23" name="Imagem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66201" y="1501373"/>
            <a:ext cx="2918721" cy="1367089"/>
          </a:xfrm>
          <a:prstGeom prst="rect">
            <a:avLst/>
          </a:prstGeom>
          <a:effectLst>
            <a:outerShdw blurRad="101600" dist="63500" dir="5400000" algn="t" rotWithShape="0">
              <a:prstClr val="black">
                <a:alpha val="30000"/>
              </a:prstClr>
            </a:outerShdw>
          </a:effectLst>
        </p:spPr>
      </p:pic>
      <p:sp>
        <p:nvSpPr>
          <p:cNvPr id="2" name="CaixaDeTexto 1"/>
          <p:cNvSpPr txBox="1"/>
          <p:nvPr/>
        </p:nvSpPr>
        <p:spPr>
          <a:xfrm>
            <a:off x="3991347" y="3089593"/>
            <a:ext cx="21114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spc="300" dirty="0" smtClean="0">
                <a:latin typeface="HelveticaNeueLT Std Lt" pitchFamily="34" charset="0"/>
              </a:rPr>
              <a:t>Obrigado!</a:t>
            </a:r>
            <a:endParaRPr lang="pt-BR" sz="2800" spc="300" dirty="0">
              <a:latin typeface="HelveticaNeueLT Std Lt" pitchFamily="34" charset="0"/>
            </a:endParaRPr>
          </a:p>
        </p:txBody>
      </p:sp>
      <p:pic>
        <p:nvPicPr>
          <p:cNvPr id="6" name="Picture 2" descr="C:\Dropbox\MaxyAll\MaxyMarketing\Logos\Logo TNT MaxyAll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25089" y="285939"/>
            <a:ext cx="1608351" cy="832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625788" y="3581053"/>
            <a:ext cx="3339632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b="1" dirty="0" err="1" smtClean="0"/>
              <a:t>Prof.Onófrio</a:t>
            </a:r>
            <a:r>
              <a:rPr lang="pt-BR" b="1" dirty="0" smtClean="0"/>
              <a:t> Notarnicola Filho</a:t>
            </a:r>
          </a:p>
          <a:p>
            <a:r>
              <a:rPr lang="pt-BR" dirty="0" smtClean="0"/>
              <a:t>Curadoria &amp; Conteúdo Digital</a:t>
            </a:r>
          </a:p>
          <a:p>
            <a:r>
              <a:rPr lang="pt-BR" b="1" dirty="0" smtClean="0">
                <a:hlinkClick r:id="rId5"/>
              </a:rPr>
              <a:t>onofrio.notarnicola@eduzz.com</a:t>
            </a:r>
            <a:endParaRPr lang="pt-BR" b="1" dirty="0" smtClean="0"/>
          </a:p>
          <a:p>
            <a:r>
              <a:rPr lang="pt-BR" sz="1600" dirty="0" smtClean="0"/>
              <a:t>+55 11 9.7671.5910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028757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>
        <p14:warp dir="in"/>
      </p:transition>
    </mc:Choice>
    <mc:Fallback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Abertura!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600200"/>
            <a:ext cx="8856984" cy="4925144"/>
          </a:xfrm>
        </p:spPr>
        <p:txBody>
          <a:bodyPr>
            <a:normAutofit/>
          </a:bodyPr>
          <a:lstStyle/>
          <a:p>
            <a:r>
              <a:rPr lang="pt-BR" dirty="0" smtClean="0"/>
              <a:t>Frase do </a:t>
            </a:r>
            <a:r>
              <a:rPr lang="pt-BR" b="1" dirty="0" err="1"/>
              <a:t>Prof</a:t>
            </a:r>
            <a:r>
              <a:rPr lang="pt-BR" b="1" dirty="0"/>
              <a:t> S. George </a:t>
            </a:r>
            <a:r>
              <a:rPr lang="pt-BR" b="1" dirty="0" err="1" smtClean="0"/>
              <a:t>Djorgovski</a:t>
            </a:r>
            <a:r>
              <a:rPr lang="pt-BR" b="1" dirty="0" smtClean="0"/>
              <a:t> - </a:t>
            </a:r>
            <a:r>
              <a:rPr lang="pt-BR" dirty="0" smtClean="0"/>
              <a:t>Prof. Astronomia e Diretor do Centro pesquisa em Computação Avançada na </a:t>
            </a:r>
            <a:r>
              <a:rPr lang="pt-BR" dirty="0" err="1" smtClean="0"/>
              <a:t>Caltech</a:t>
            </a:r>
            <a:r>
              <a:rPr lang="pt-BR" dirty="0" smtClean="0"/>
              <a:t> , PhD por Berkeley:</a:t>
            </a:r>
          </a:p>
          <a:p>
            <a:pPr lvl="1"/>
            <a:r>
              <a:rPr lang="pt-BR" b="1" dirty="0" smtClean="0"/>
              <a:t> </a:t>
            </a:r>
            <a:r>
              <a:rPr lang="pt-BR" dirty="0" smtClean="0">
                <a:solidFill>
                  <a:schemeClr val="tx2"/>
                </a:solidFill>
              </a:rPr>
              <a:t>Eu </a:t>
            </a:r>
            <a:r>
              <a:rPr lang="pt-BR" dirty="0">
                <a:solidFill>
                  <a:schemeClr val="tx2"/>
                </a:solidFill>
              </a:rPr>
              <a:t>concordo que não há nada que possa substituir a interação com um professor qualificado </a:t>
            </a:r>
            <a:r>
              <a:rPr lang="pt-BR" dirty="0" smtClean="0">
                <a:solidFill>
                  <a:schemeClr val="tx2"/>
                </a:solidFill>
              </a:rPr>
              <a:t>e o seu grande humor </a:t>
            </a:r>
            <a:r>
              <a:rPr lang="pt-BR" dirty="0">
                <a:solidFill>
                  <a:schemeClr val="tx2"/>
                </a:solidFill>
              </a:rPr>
              <a:t>para explicar as coisas para você ou para discutir as coisas com você. </a:t>
            </a:r>
            <a:r>
              <a:rPr lang="pt-BR" u="sng" dirty="0">
                <a:solidFill>
                  <a:schemeClr val="tx2"/>
                </a:solidFill>
              </a:rPr>
              <a:t>No entanto, essa subespécie </a:t>
            </a:r>
            <a:r>
              <a:rPr lang="pt-BR" u="sng" dirty="0" smtClean="0">
                <a:solidFill>
                  <a:schemeClr val="tx2"/>
                </a:solidFill>
              </a:rPr>
              <a:t>particular de professor </a:t>
            </a:r>
            <a:r>
              <a:rPr lang="pt-BR" u="sng" dirty="0">
                <a:solidFill>
                  <a:schemeClr val="tx2"/>
                </a:solidFill>
              </a:rPr>
              <a:t>é mais raro do que unicórnios cor de rosa. </a:t>
            </a:r>
          </a:p>
        </p:txBody>
      </p:sp>
    </p:spTree>
    <p:extLst>
      <p:ext uri="{BB962C8B-B14F-4D97-AF65-F5344CB8AC3E}">
        <p14:creationId xmlns:p14="http://schemas.microsoft.com/office/powerpoint/2010/main" xmlns="" val="253352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Contextualização...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556792"/>
            <a:ext cx="8507288" cy="4925144"/>
          </a:xfrm>
        </p:spPr>
        <p:txBody>
          <a:bodyPr>
            <a:normAutofit fontScale="62500" lnSpcReduction="20000"/>
          </a:bodyPr>
          <a:lstStyle/>
          <a:p>
            <a:r>
              <a:rPr lang="pt-BR" b="1" dirty="0" smtClean="0"/>
              <a:t>Fenômeno do crescimento dos </a:t>
            </a:r>
            <a:r>
              <a:rPr lang="pt-BR" b="1" dirty="0" err="1" smtClean="0"/>
              <a:t>MOOC´s</a:t>
            </a:r>
            <a:r>
              <a:rPr lang="pt-BR" b="1" dirty="0" smtClean="0"/>
              <a:t> -</a:t>
            </a:r>
            <a:r>
              <a:rPr lang="pt-BR" b="1" i="1" dirty="0" smtClean="0"/>
              <a:t> </a:t>
            </a:r>
            <a:r>
              <a:rPr lang="pt-BR" b="1" dirty="0" err="1"/>
              <a:t>Massive</a:t>
            </a:r>
            <a:r>
              <a:rPr lang="pt-BR" b="1" dirty="0"/>
              <a:t> Online Open </a:t>
            </a:r>
            <a:r>
              <a:rPr lang="pt-BR" b="1" dirty="0" err="1"/>
              <a:t>Course</a:t>
            </a:r>
            <a:r>
              <a:rPr lang="pt-BR" b="1" i="1" dirty="0" smtClean="0"/>
              <a:t>:</a:t>
            </a:r>
          </a:p>
          <a:p>
            <a:pPr lvl="1"/>
            <a:r>
              <a:rPr lang="pt-BR" dirty="0" smtClean="0"/>
              <a:t>2012 </a:t>
            </a:r>
            <a:r>
              <a:rPr lang="pt-BR" dirty="0"/>
              <a:t>foi o "Ano do </a:t>
            </a:r>
            <a:r>
              <a:rPr lang="pt-BR" dirty="0" smtClean="0"/>
              <a:t>MOOC“ - </a:t>
            </a:r>
            <a:r>
              <a:rPr lang="pt-BR" dirty="0"/>
              <a:t>The New York </a:t>
            </a:r>
            <a:r>
              <a:rPr lang="pt-BR" dirty="0" smtClean="0"/>
              <a:t>Times - chamado </a:t>
            </a:r>
            <a:r>
              <a:rPr lang="pt-BR" dirty="0"/>
              <a:t>famosamente </a:t>
            </a:r>
            <a:r>
              <a:rPr lang="pt-BR" dirty="0" smtClean="0"/>
              <a:t>.</a:t>
            </a:r>
          </a:p>
          <a:p>
            <a:pPr lvl="1"/>
            <a:r>
              <a:rPr lang="pt-BR" dirty="0" smtClean="0"/>
              <a:t>Sugestões de publicações:</a:t>
            </a:r>
          </a:p>
          <a:p>
            <a:pPr lvl="2"/>
            <a:r>
              <a:rPr lang="pt-BR" dirty="0" err="1" smtClean="0"/>
              <a:t>Profa.Dra</a:t>
            </a:r>
            <a:r>
              <a:rPr lang="pt-BR" dirty="0" smtClean="0"/>
              <a:t>. Daphne </a:t>
            </a:r>
            <a:r>
              <a:rPr lang="pt-BR" dirty="0" err="1" smtClean="0"/>
              <a:t>Koller</a:t>
            </a:r>
            <a:r>
              <a:rPr lang="pt-BR" dirty="0" smtClean="0"/>
              <a:t> – </a:t>
            </a:r>
            <a:r>
              <a:rPr lang="en-US" dirty="0" smtClean="0"/>
              <a:t>School </a:t>
            </a:r>
            <a:r>
              <a:rPr lang="en-US" dirty="0"/>
              <a:t>of </a:t>
            </a:r>
            <a:r>
              <a:rPr lang="en-US" dirty="0" smtClean="0"/>
              <a:t>Engineering /Stanford </a:t>
            </a:r>
            <a:r>
              <a:rPr lang="en-US" dirty="0"/>
              <a:t>University</a:t>
            </a:r>
            <a:endParaRPr lang="en-US" dirty="0">
              <a:hlinkClick r:id="rId2"/>
            </a:endParaRPr>
          </a:p>
          <a:p>
            <a:pPr lvl="2"/>
            <a:r>
              <a:rPr lang="pt-BR" dirty="0" smtClean="0"/>
              <a:t>Don </a:t>
            </a:r>
            <a:r>
              <a:rPr lang="pt-BR" dirty="0" err="1"/>
              <a:t>Tapscott</a:t>
            </a:r>
            <a:r>
              <a:rPr lang="pt-BR" dirty="0"/>
              <a:t>, </a:t>
            </a:r>
            <a:r>
              <a:rPr lang="pt-BR" dirty="0" smtClean="0"/>
              <a:t>autor de “ </a:t>
            </a:r>
            <a:r>
              <a:rPr lang="pt-BR" dirty="0" err="1" smtClean="0"/>
              <a:t>Macrowikinomics</a:t>
            </a:r>
            <a:r>
              <a:rPr lang="pt-BR" dirty="0" smtClean="0"/>
              <a:t>” </a:t>
            </a:r>
          </a:p>
          <a:p>
            <a:pPr lvl="2"/>
            <a:r>
              <a:rPr lang="en-US" dirty="0"/>
              <a:t>“The Crisis in Higher </a:t>
            </a:r>
            <a:r>
              <a:rPr lang="en-US" dirty="0" smtClean="0"/>
              <a:t>Education - By</a:t>
            </a:r>
            <a:r>
              <a:rPr lang="en-US" dirty="0"/>
              <a:t> Nicholas Carr on September 27, </a:t>
            </a:r>
            <a:r>
              <a:rPr lang="en-US" dirty="0" smtClean="0"/>
              <a:t>2012.</a:t>
            </a:r>
            <a:endParaRPr lang="en-US" dirty="0"/>
          </a:p>
          <a:p>
            <a:pPr lvl="2"/>
            <a:r>
              <a:rPr lang="pt-BR" dirty="0" err="1" smtClean="0"/>
              <a:t>Has</a:t>
            </a:r>
            <a:r>
              <a:rPr lang="pt-BR" dirty="0" smtClean="0"/>
              <a:t> </a:t>
            </a:r>
            <a:r>
              <a:rPr lang="pt-BR" dirty="0" err="1"/>
              <a:t>the</a:t>
            </a:r>
            <a:r>
              <a:rPr lang="pt-BR" dirty="0"/>
              <a:t> future </a:t>
            </a:r>
            <a:r>
              <a:rPr lang="pt-BR" dirty="0" err="1"/>
              <a:t>of</a:t>
            </a:r>
            <a:r>
              <a:rPr lang="pt-BR" dirty="0"/>
              <a:t> </a:t>
            </a:r>
            <a:r>
              <a:rPr lang="pt-BR" dirty="0" err="1"/>
              <a:t>college</a:t>
            </a:r>
            <a:r>
              <a:rPr lang="pt-BR" dirty="0"/>
              <a:t> </a:t>
            </a:r>
            <a:r>
              <a:rPr lang="pt-BR" dirty="0" err="1"/>
              <a:t>moved</a:t>
            </a:r>
            <a:r>
              <a:rPr lang="pt-BR" dirty="0"/>
              <a:t> online? </a:t>
            </a:r>
            <a:r>
              <a:rPr lang="pt-BR" dirty="0" err="1"/>
              <a:t>by</a:t>
            </a:r>
            <a:r>
              <a:rPr lang="pt-BR" dirty="0"/>
              <a:t> Nathan Heller - THE NEW YORKER (May 20, 2013</a:t>
            </a:r>
            <a:r>
              <a:rPr lang="pt-BR" dirty="0" smtClean="0"/>
              <a:t>).</a:t>
            </a:r>
          </a:p>
          <a:p>
            <a:pPr lvl="2"/>
            <a:r>
              <a:rPr lang="pt-BR" dirty="0" err="1" smtClean="0"/>
              <a:t>Profa</a:t>
            </a:r>
            <a:r>
              <a:rPr lang="pt-BR" dirty="0" smtClean="0"/>
              <a:t> Dra. Marta Campos Maia – </a:t>
            </a:r>
            <a:r>
              <a:rPr lang="pt-BR" dirty="0" err="1" smtClean="0"/>
              <a:t>Entendedo</a:t>
            </a:r>
            <a:r>
              <a:rPr lang="pt-BR" dirty="0" smtClean="0"/>
              <a:t> a Necessidade de Renovação no Processo de Ensino </a:t>
            </a:r>
            <a:r>
              <a:rPr lang="pt-BR" dirty="0"/>
              <a:t>e Aprendizagem - RAE-eletrônica, v. 9, n. 1, Resenha 1, jan./jun. 2010. </a:t>
            </a:r>
            <a:endParaRPr lang="pt-BR" dirty="0" smtClean="0"/>
          </a:p>
          <a:p>
            <a:pPr lvl="2"/>
            <a:r>
              <a:rPr lang="pt-BR" dirty="0" err="1" smtClean="0"/>
              <a:t>Prof.Dr</a:t>
            </a:r>
            <a:r>
              <a:rPr lang="pt-BR" dirty="0" smtClean="0"/>
              <a:t>. Carlos Longo. </a:t>
            </a:r>
            <a:r>
              <a:rPr lang="pt-BR" dirty="0"/>
              <a:t>FGV </a:t>
            </a:r>
            <a:r>
              <a:rPr lang="pt-BR" dirty="0" smtClean="0"/>
              <a:t>Online- Um Desenho de Ensino no Traçado da Distância </a:t>
            </a:r>
            <a:r>
              <a:rPr lang="pt-BR" dirty="0"/>
              <a:t>DISTÂNCIA. In: </a:t>
            </a:r>
            <a:r>
              <a:rPr lang="pt-BR" dirty="0" smtClean="0"/>
              <a:t>Café Metodológico do Programa GVLAW.</a:t>
            </a:r>
            <a:r>
              <a:rPr lang="pt-BR" dirty="0"/>
              <a:t> </a:t>
            </a:r>
            <a:endParaRPr lang="pt-BR" dirty="0" smtClean="0"/>
          </a:p>
          <a:p>
            <a:pPr lvl="2"/>
            <a:r>
              <a:rPr lang="pt-BR" dirty="0" smtClean="0"/>
              <a:t>Prof. Dr. </a:t>
            </a:r>
            <a:r>
              <a:rPr lang="pt-BR" dirty="0" err="1" smtClean="0"/>
              <a:t>Valdéres</a:t>
            </a:r>
            <a:r>
              <a:rPr lang="pt-BR" dirty="0" smtClean="0"/>
              <a:t>  Fernandes  Pinheiro - Modelo Organizacional de Educação a Distância para Instituições de Ensino – Tese </a:t>
            </a:r>
            <a:r>
              <a:rPr lang="pt-BR" dirty="0"/>
              <a:t>D</a:t>
            </a:r>
            <a:r>
              <a:rPr lang="pt-BR" dirty="0" smtClean="0"/>
              <a:t>outorado em Ciências na Área de Tecnologia/ Gestão da Tecnologia – Instituto de Pesquisas Energéticas e Nucleares – Autarquia </a:t>
            </a:r>
            <a:r>
              <a:rPr lang="pt-BR" dirty="0" err="1" smtClean="0"/>
              <a:t>Assoc.Univ</a:t>
            </a:r>
            <a:r>
              <a:rPr lang="pt-BR" dirty="0" smtClean="0"/>
              <a:t>. São </a:t>
            </a:r>
            <a:r>
              <a:rPr lang="pt-BR" dirty="0" err="1" smtClean="0"/>
              <a:t>paulo</a:t>
            </a:r>
            <a:r>
              <a:rPr lang="pt-BR" dirty="0" smtClean="0"/>
              <a:t>/USP-2004</a:t>
            </a:r>
          </a:p>
          <a:p>
            <a:r>
              <a:rPr lang="pt-BR" b="1" dirty="0" smtClean="0"/>
              <a:t>Algumas expectativas </a:t>
            </a:r>
            <a:r>
              <a:rPr lang="pt-BR" b="1" dirty="0" err="1" smtClean="0"/>
              <a:t>frustadas</a:t>
            </a:r>
            <a:r>
              <a:rPr lang="pt-BR" b="1" dirty="0" smtClean="0"/>
              <a:t>.</a:t>
            </a:r>
          </a:p>
          <a:p>
            <a:r>
              <a:rPr lang="pt-BR" b="1" dirty="0" smtClean="0"/>
              <a:t>Tecnologia </a:t>
            </a:r>
            <a:r>
              <a:rPr lang="pt-BR" b="1" dirty="0"/>
              <a:t>nos tempos de hoje, muitos tem certa resistência na </a:t>
            </a:r>
            <a:r>
              <a:rPr lang="pt-BR" b="1" dirty="0" smtClean="0"/>
              <a:t>implantação </a:t>
            </a:r>
            <a:r>
              <a:rPr lang="pt-BR" b="1" dirty="0"/>
              <a:t>desses recursos na Educação</a:t>
            </a:r>
            <a:r>
              <a:rPr lang="pt-BR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21810339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pt-BR" dirty="0" smtClean="0"/>
              <a:t>Instituições e também alguns professores que no início se engajaram ao movimento dos </a:t>
            </a:r>
            <a:r>
              <a:rPr lang="pt-BR" dirty="0" err="1" smtClean="0"/>
              <a:t>MOOC´s</a:t>
            </a:r>
            <a:r>
              <a:rPr lang="pt-BR" dirty="0" smtClean="0"/>
              <a:t>.</a:t>
            </a:r>
          </a:p>
          <a:p>
            <a:r>
              <a:rPr lang="pt-BR" dirty="0" err="1" smtClean="0"/>
              <a:t>MOOC´</a:t>
            </a:r>
            <a:r>
              <a:rPr lang="pt-BR" dirty="0" smtClean="0"/>
              <a:t>s </a:t>
            </a:r>
            <a:r>
              <a:rPr lang="pt-BR" dirty="0" smtClean="0"/>
              <a:t>apresentavam </a:t>
            </a:r>
            <a:r>
              <a:rPr lang="pt-BR" dirty="0" smtClean="0"/>
              <a:t>resultados negativos.</a:t>
            </a:r>
          </a:p>
          <a:p>
            <a:r>
              <a:rPr lang="pt-BR" dirty="0" smtClean="0"/>
              <a:t>Perigo percebido, devido a potencial diminuição das receitas das Universidades Privadas Americanas, aproveitarem a tecnologia das plataformas </a:t>
            </a:r>
            <a:r>
              <a:rPr lang="pt-BR" dirty="0" err="1" smtClean="0"/>
              <a:t>MOOC´s</a:t>
            </a:r>
            <a:r>
              <a:rPr lang="pt-BR" dirty="0" smtClean="0"/>
              <a:t> para cortar custos e consequentemente os investimentos(</a:t>
            </a:r>
            <a:r>
              <a:rPr lang="pt-BR" dirty="0" err="1" smtClean="0"/>
              <a:t>State</a:t>
            </a:r>
            <a:r>
              <a:rPr lang="pt-BR" dirty="0" smtClean="0"/>
              <a:t> </a:t>
            </a:r>
            <a:r>
              <a:rPr lang="pt-BR" dirty="0" err="1" smtClean="0"/>
              <a:t>Funding</a:t>
            </a:r>
            <a:r>
              <a:rPr lang="pt-BR" dirty="0" smtClean="0"/>
              <a:t>) dos governos estaduais americanos em suas excelentes Universidades.</a:t>
            </a:r>
          </a:p>
          <a:p>
            <a:r>
              <a:rPr lang="pt-BR" dirty="0" smtClean="0">
                <a:solidFill>
                  <a:schemeClr val="tx2"/>
                </a:solidFill>
              </a:rPr>
              <a:t>Potencialmente prejudicando o futuro das mesmas!</a:t>
            </a:r>
            <a:endParaRPr lang="pt-BR" dirty="0">
              <a:solidFill>
                <a:schemeClr val="tx2"/>
              </a:solidFill>
            </a:endParaRPr>
          </a:p>
        </p:txBody>
      </p:sp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pt-BR" dirty="0" smtClean="0"/>
              <a:t>Contextualização..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492595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fontAlgn="base"/>
            <a:r>
              <a:rPr lang="en-US" sz="4000" b="1" cap="all" dirty="0" smtClean="0"/>
              <a:t>MOOC !</a:t>
            </a:r>
            <a:br>
              <a:rPr lang="en-US" sz="4000" b="1" cap="all" dirty="0" smtClean="0"/>
            </a:br>
            <a:r>
              <a:rPr lang="en-US" sz="3600" b="1" cap="all" dirty="0" smtClean="0">
                <a:solidFill>
                  <a:schemeClr val="tx2"/>
                </a:solidFill>
              </a:rPr>
              <a:t>Para </a:t>
            </a:r>
            <a:r>
              <a:rPr lang="en-US" sz="3600" b="1" cap="all" dirty="0" err="1" smtClean="0">
                <a:solidFill>
                  <a:schemeClr val="tx2"/>
                </a:solidFill>
              </a:rPr>
              <a:t>onde</a:t>
            </a:r>
            <a:r>
              <a:rPr lang="en-US" sz="3600" b="1" cap="all" dirty="0" smtClean="0">
                <a:solidFill>
                  <a:schemeClr val="tx2"/>
                </a:solidFill>
              </a:rPr>
              <a:t> </a:t>
            </a:r>
            <a:r>
              <a:rPr lang="en-US" sz="3600" b="1" cap="all" dirty="0" err="1" smtClean="0">
                <a:solidFill>
                  <a:schemeClr val="tx2"/>
                </a:solidFill>
              </a:rPr>
              <a:t>está</a:t>
            </a:r>
            <a:r>
              <a:rPr lang="en-US" sz="3600" b="1" cap="all" dirty="0" smtClean="0">
                <a:solidFill>
                  <a:schemeClr val="tx2"/>
                </a:solidFill>
              </a:rPr>
              <a:t> </a:t>
            </a:r>
            <a:r>
              <a:rPr lang="en-US" sz="3600" b="1" cap="all" dirty="0" err="1" smtClean="0">
                <a:solidFill>
                  <a:schemeClr val="tx2"/>
                </a:solidFill>
              </a:rPr>
              <a:t>caminhando</a:t>
            </a:r>
            <a:r>
              <a:rPr lang="en-US" sz="3600" b="1" cap="all" dirty="0" smtClean="0">
                <a:solidFill>
                  <a:schemeClr val="tx2"/>
                </a:solidFill>
              </a:rPr>
              <a:t>?</a:t>
            </a:r>
            <a:endParaRPr lang="en-US" sz="3600" b="1" dirty="0">
              <a:solidFill>
                <a:schemeClr val="tx2"/>
              </a:solidFill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t-BR" dirty="0"/>
          </a:p>
        </p:txBody>
      </p:sp>
      <p:pic>
        <p:nvPicPr>
          <p:cNvPr id="1026" name="Picture 2" descr="what_next_MOOCs_blo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700808"/>
            <a:ext cx="6912768" cy="4211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5420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MOOC?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79512" y="1600200"/>
            <a:ext cx="8856984" cy="4997152"/>
          </a:xfrm>
        </p:spPr>
        <p:txBody>
          <a:bodyPr>
            <a:normAutofit fontScale="62500" lnSpcReduction="20000"/>
          </a:bodyPr>
          <a:lstStyle/>
          <a:p>
            <a:r>
              <a:rPr lang="pt-BR" sz="3400" b="1" dirty="0" smtClean="0"/>
              <a:t>MOOC  “</a:t>
            </a:r>
            <a:r>
              <a:rPr lang="pt-BR" sz="3400" b="1" dirty="0" err="1"/>
              <a:t>Massive</a:t>
            </a:r>
            <a:r>
              <a:rPr lang="pt-BR" sz="3400" b="1" dirty="0"/>
              <a:t> Online Open </a:t>
            </a:r>
            <a:r>
              <a:rPr lang="pt-BR" sz="3400" b="1" dirty="0" err="1" smtClean="0"/>
              <a:t>Course</a:t>
            </a:r>
            <a:r>
              <a:rPr lang="pt-BR" sz="3400" b="1" i="1" dirty="0" smtClean="0"/>
              <a:t>”</a:t>
            </a:r>
            <a:endParaRPr lang="pt-BR" sz="3400" b="1" dirty="0" smtClean="0"/>
          </a:p>
          <a:p>
            <a:pPr lvl="1"/>
            <a:r>
              <a:rPr lang="pt-BR" b="1" dirty="0" smtClean="0"/>
              <a:t>Massivo: </a:t>
            </a:r>
            <a:r>
              <a:rPr lang="pt-BR" dirty="0"/>
              <a:t>porque é planejado para a inscrição de dezenas de milhares de estudantes. </a:t>
            </a:r>
            <a:endParaRPr lang="pt-BR" dirty="0" smtClean="0"/>
          </a:p>
          <a:p>
            <a:pPr lvl="1"/>
            <a:r>
              <a:rPr lang="pt-BR" dirty="0" smtClean="0"/>
              <a:t>Aberto: </a:t>
            </a:r>
            <a:r>
              <a:rPr lang="pt-BR" dirty="0"/>
              <a:t>porque, na teoria, qualquer um com conexão à internet pode se inscrever. </a:t>
            </a:r>
            <a:endParaRPr lang="pt-BR" dirty="0" smtClean="0"/>
          </a:p>
          <a:p>
            <a:pPr lvl="1"/>
            <a:r>
              <a:rPr lang="pt-BR" b="1" dirty="0" smtClean="0"/>
              <a:t>Online</a:t>
            </a:r>
            <a:r>
              <a:rPr lang="pt-BR" dirty="0" smtClean="0"/>
              <a:t>: se </a:t>
            </a:r>
            <a:r>
              <a:rPr lang="pt-BR" dirty="0"/>
              <a:t>refere não apenas ao modo de transmissão, mas ao estilo de comunicação: muito, se não tudo, será via web</a:t>
            </a:r>
            <a:r>
              <a:rPr lang="pt-BR" dirty="0" smtClean="0"/>
              <a:t>.</a:t>
            </a:r>
          </a:p>
          <a:p>
            <a:pPr lvl="1"/>
            <a:r>
              <a:rPr lang="pt-BR" b="1" dirty="0" smtClean="0"/>
              <a:t>Curso</a:t>
            </a:r>
            <a:r>
              <a:rPr lang="pt-BR" dirty="0" smtClean="0"/>
              <a:t>: significa </a:t>
            </a:r>
            <a:r>
              <a:rPr lang="pt-BR" dirty="0"/>
              <a:t>que uma avaliação está envolvida – tarefas, provas e uma certificação conclusiva. </a:t>
            </a:r>
            <a:endParaRPr lang="pt-BR" dirty="0" smtClean="0"/>
          </a:p>
          <a:p>
            <a:pPr lvl="1"/>
            <a:r>
              <a:rPr lang="pt-BR" dirty="0" smtClean="0"/>
              <a:t>Ao cursar um MOOC:</a:t>
            </a:r>
          </a:p>
          <a:p>
            <a:pPr lvl="2"/>
            <a:r>
              <a:rPr lang="pt-BR" dirty="0" smtClean="0"/>
              <a:t>Ritmo</a:t>
            </a:r>
            <a:r>
              <a:rPr lang="pt-BR" dirty="0"/>
              <a:t>. </a:t>
            </a:r>
            <a:endParaRPr lang="pt-BR" dirty="0" smtClean="0"/>
          </a:p>
          <a:p>
            <a:pPr lvl="2"/>
            <a:r>
              <a:rPr lang="pt-BR" dirty="0" smtClean="0"/>
              <a:t>Avaliação </a:t>
            </a:r>
            <a:r>
              <a:rPr lang="pt-BR" dirty="0"/>
              <a:t>regular. </a:t>
            </a:r>
            <a:endParaRPr lang="pt-BR" dirty="0" smtClean="0"/>
          </a:p>
          <a:p>
            <a:pPr lvl="2"/>
            <a:r>
              <a:rPr lang="pt-BR" dirty="0" smtClean="0"/>
              <a:t>Aprovação ou não no final do curso</a:t>
            </a:r>
          </a:p>
          <a:p>
            <a:pPr lvl="2"/>
            <a:r>
              <a:rPr lang="pt-BR" dirty="0" smtClean="0"/>
              <a:t>Ou como na grande maioria dos cursos presenciais,  alguns inscritos deixarão de acompanhar.</a:t>
            </a:r>
            <a:endParaRPr lang="pt-BR" dirty="0"/>
          </a:p>
          <a:p>
            <a:r>
              <a:rPr lang="pt-BR" dirty="0" err="1" smtClean="0"/>
              <a:t>MOOCs</a:t>
            </a:r>
            <a:r>
              <a:rPr lang="pt-BR" dirty="0" smtClean="0"/>
              <a:t> representam o </a:t>
            </a:r>
            <a:r>
              <a:rPr lang="pt-BR" dirty="0"/>
              <a:t>futuro da educação </a:t>
            </a:r>
            <a:r>
              <a:rPr lang="pt-BR" dirty="0" smtClean="0"/>
              <a:t>superior:</a:t>
            </a:r>
          </a:p>
          <a:p>
            <a:pPr lvl="1"/>
            <a:r>
              <a:rPr lang="pt-BR" dirty="0" smtClean="0"/>
              <a:t>Harvard,</a:t>
            </a:r>
          </a:p>
          <a:p>
            <a:pPr lvl="1"/>
            <a:r>
              <a:rPr lang="pt-BR" dirty="0" smtClean="0"/>
              <a:t>MIT</a:t>
            </a:r>
            <a:r>
              <a:rPr lang="pt-BR" dirty="0"/>
              <a:t>, </a:t>
            </a:r>
            <a:endParaRPr lang="pt-BR" dirty="0" smtClean="0"/>
          </a:p>
          <a:p>
            <a:pPr lvl="1"/>
            <a:r>
              <a:rPr lang="pt-BR" dirty="0" err="1" smtClean="0"/>
              <a:t>Caltech</a:t>
            </a:r>
            <a:r>
              <a:rPr lang="pt-BR" dirty="0" smtClean="0"/>
              <a:t> </a:t>
            </a:r>
            <a:r>
              <a:rPr lang="pt-BR" dirty="0"/>
              <a:t>e a Universidade do Texas investiram milhares de dólares em </a:t>
            </a:r>
            <a:r>
              <a:rPr lang="pt-BR" dirty="0" err="1"/>
              <a:t>MOOCs</a:t>
            </a:r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7943717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Muitas pessoas acreditam que os </a:t>
            </a:r>
            <a:r>
              <a:rPr lang="pt-BR" dirty="0" err="1"/>
              <a:t>MOOCs</a:t>
            </a:r>
            <a:r>
              <a:rPr lang="pt-BR" dirty="0"/>
              <a:t> </a:t>
            </a:r>
            <a:r>
              <a:rPr lang="pt-BR" dirty="0" smtClean="0"/>
              <a:t>representam ...o </a:t>
            </a:r>
            <a:r>
              <a:rPr lang="pt-BR" dirty="0"/>
              <a:t>futuro da educação superior na </a:t>
            </a:r>
            <a:r>
              <a:rPr lang="pt-BR" dirty="0" smtClean="0"/>
              <a:t>América.</a:t>
            </a:r>
          </a:p>
          <a:p>
            <a:r>
              <a:rPr lang="pt-BR" dirty="0" smtClean="0"/>
              <a:t>Da Berkeley </a:t>
            </a:r>
            <a:r>
              <a:rPr lang="pt-BR" dirty="0"/>
              <a:t>a Princeton, embarcaram. </a:t>
            </a:r>
            <a:endParaRPr lang="pt-BR" dirty="0" smtClean="0"/>
          </a:p>
          <a:p>
            <a:r>
              <a:rPr lang="pt-BR" dirty="0" smtClean="0"/>
              <a:t>A </a:t>
            </a:r>
            <a:r>
              <a:rPr lang="pt-BR" dirty="0"/>
              <a:t>meta declarada é a democratização. </a:t>
            </a:r>
            <a:endParaRPr lang="pt-BR" dirty="0" smtClean="0"/>
          </a:p>
          <a:p>
            <a:pPr lvl="1"/>
            <a:r>
              <a:rPr lang="pt-BR" dirty="0" smtClean="0">
                <a:solidFill>
                  <a:schemeClr val="tx2"/>
                </a:solidFill>
              </a:rPr>
              <a:t>“</a:t>
            </a:r>
            <a:r>
              <a:rPr lang="pt-BR" dirty="0">
                <a:solidFill>
                  <a:schemeClr val="tx2"/>
                </a:solidFill>
              </a:rPr>
              <a:t>Espero que haja um monte de cursos gratuitos, ou quase de graça, disponíveis”, explicou o presidente de Stanford num recente editorial. </a:t>
            </a:r>
          </a:p>
        </p:txBody>
      </p:sp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pt-BR" dirty="0" smtClean="0"/>
              <a:t>MOOC?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90293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251520" y="1600200"/>
            <a:ext cx="8784976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3600" dirty="0" smtClean="0"/>
              <a:t>“ Os </a:t>
            </a:r>
            <a:r>
              <a:rPr lang="pt-BR" sz="3600" dirty="0"/>
              <a:t>serviços e as instituições só podem se reinventar com ajuda da colaboração via </a:t>
            </a:r>
            <a:r>
              <a:rPr lang="pt-BR" sz="3600" dirty="0" smtClean="0"/>
              <a:t>internet”.</a:t>
            </a:r>
          </a:p>
          <a:p>
            <a:pPr marL="0" indent="0">
              <a:buNone/>
            </a:pPr>
            <a:r>
              <a:rPr lang="pt-BR" sz="2800" dirty="0" smtClean="0">
                <a:solidFill>
                  <a:schemeClr val="tx2"/>
                </a:solidFill>
              </a:rPr>
              <a:t>Don </a:t>
            </a:r>
            <a:r>
              <a:rPr lang="pt-BR" sz="2800" dirty="0" err="1" smtClean="0">
                <a:solidFill>
                  <a:schemeClr val="tx2"/>
                </a:solidFill>
              </a:rPr>
              <a:t>Tapscott</a:t>
            </a:r>
            <a:r>
              <a:rPr lang="pt-BR" sz="2800" dirty="0" smtClean="0">
                <a:solidFill>
                  <a:schemeClr val="tx2"/>
                </a:solidFill>
              </a:rPr>
              <a:t> - 26.jan.09</a:t>
            </a:r>
            <a:endParaRPr lang="pt-BR" sz="2800" dirty="0">
              <a:solidFill>
                <a:schemeClr val="tx2"/>
              </a:solidFill>
            </a:endParaRPr>
          </a:p>
        </p:txBody>
      </p:sp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pt-BR" dirty="0" smtClean="0"/>
              <a:t>MOOC?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xmlns="" val="1204083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Don </a:t>
            </a:r>
            <a:r>
              <a:rPr lang="pt-BR" dirty="0" err="1" smtClean="0"/>
              <a:t>Tapscott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709120"/>
          </a:xfrm>
        </p:spPr>
        <p:txBody>
          <a:bodyPr>
            <a:noAutofit/>
          </a:bodyPr>
          <a:lstStyle/>
          <a:p>
            <a:pPr fontAlgn="base"/>
            <a:r>
              <a:rPr lang="pt-BR" sz="2800" dirty="0" smtClean="0"/>
              <a:t>Barack </a:t>
            </a:r>
            <a:r>
              <a:rPr lang="pt-BR" sz="2800" dirty="0"/>
              <a:t>Obama citou seu livro “</a:t>
            </a:r>
            <a:r>
              <a:rPr lang="pt-BR" sz="2800" dirty="0" err="1"/>
              <a:t>Wikinomics</a:t>
            </a:r>
            <a:r>
              <a:rPr lang="pt-BR" sz="2800" dirty="0"/>
              <a:t>” como </a:t>
            </a:r>
            <a:r>
              <a:rPr lang="pt-BR" sz="2800" dirty="0" smtClean="0"/>
              <a:t>fonte inspiradora</a:t>
            </a:r>
            <a:r>
              <a:rPr lang="pt-BR" sz="2800" dirty="0"/>
              <a:t>.</a:t>
            </a:r>
            <a:r>
              <a:rPr lang="pt-BR" sz="2800" dirty="0" smtClean="0"/>
              <a:t> </a:t>
            </a:r>
          </a:p>
          <a:p>
            <a:pPr fontAlgn="base"/>
            <a:r>
              <a:rPr lang="pt-BR" sz="2800" dirty="0" smtClean="0"/>
              <a:t>Redes Sociais : e </a:t>
            </a:r>
            <a:r>
              <a:rPr lang="pt-BR" sz="2800" dirty="0"/>
              <a:t>as novas tecnologias podem contribuir para a prática da cidadania e até, em casos extremos, ajudar a derrubar </a:t>
            </a:r>
            <a:r>
              <a:rPr lang="pt-BR" sz="2800" dirty="0" smtClean="0"/>
              <a:t>governos(</a:t>
            </a:r>
            <a:r>
              <a:rPr lang="pt-BR" sz="2800" dirty="0" err="1" smtClean="0"/>
              <a:t>Tunisia</a:t>
            </a:r>
            <a:r>
              <a:rPr lang="pt-BR" sz="2800" dirty="0"/>
              <a:t>, </a:t>
            </a:r>
            <a:r>
              <a:rPr lang="pt-BR" sz="2800" dirty="0" smtClean="0"/>
              <a:t>Egito e </a:t>
            </a:r>
            <a:r>
              <a:rPr lang="pt-BR" sz="2800" dirty="0" err="1" smtClean="0"/>
              <a:t>Libia</a:t>
            </a:r>
            <a:r>
              <a:rPr lang="pt-BR" sz="2800" dirty="0" smtClean="0"/>
              <a:t>).</a:t>
            </a:r>
            <a:endParaRPr lang="pt-BR" sz="2800" dirty="0"/>
          </a:p>
          <a:p>
            <a:pPr fontAlgn="base"/>
            <a:r>
              <a:rPr lang="pt-BR" sz="2800" dirty="0" smtClean="0"/>
              <a:t>Resposta de Don </a:t>
            </a:r>
            <a:r>
              <a:rPr lang="pt-BR" sz="2800" dirty="0" err="1" smtClean="0"/>
              <a:t>Tapscott</a:t>
            </a:r>
            <a:r>
              <a:rPr lang="pt-BR" sz="2800" dirty="0" smtClean="0"/>
              <a:t>  quando </a:t>
            </a:r>
            <a:r>
              <a:rPr lang="pt-BR" sz="2800" dirty="0"/>
              <a:t>perguntaram, </a:t>
            </a:r>
            <a:r>
              <a:rPr lang="pt-BR" sz="2800" dirty="0" smtClean="0"/>
              <a:t>o </a:t>
            </a:r>
            <a:r>
              <a:rPr lang="pt-BR" sz="2800" dirty="0"/>
              <a:t>que Dilma </a:t>
            </a:r>
            <a:r>
              <a:rPr lang="pt-BR" sz="2800" dirty="0" err="1"/>
              <a:t>Roussef</a:t>
            </a:r>
            <a:r>
              <a:rPr lang="pt-BR" sz="2800" dirty="0"/>
              <a:t> deveria fazer para colocar o Brasil, de fato, na trilha do </a:t>
            </a:r>
            <a:r>
              <a:rPr lang="pt-BR" sz="2800" dirty="0" smtClean="0"/>
              <a:t>desenvolvimento? </a:t>
            </a:r>
            <a:r>
              <a:rPr lang="pt-BR" sz="2800" dirty="0"/>
              <a:t>Don respondeu: “Ouvir mais a população, através das mídias digitais</a:t>
            </a:r>
            <a:r>
              <a:rPr lang="pt-BR" sz="2800" dirty="0" smtClean="0"/>
              <a:t>”.</a:t>
            </a:r>
            <a:endParaRPr lang="pt-BR" sz="2800" dirty="0"/>
          </a:p>
        </p:txBody>
      </p:sp>
    </p:spTree>
    <p:extLst>
      <p:ext uri="{BB962C8B-B14F-4D97-AF65-F5344CB8AC3E}">
        <p14:creationId xmlns:p14="http://schemas.microsoft.com/office/powerpoint/2010/main" xmlns="" val="3458011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98hPPVOEUiUiddz_X1z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K8pY8HF0mVEQLs14jp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98hPPVOEUiUiddz_X1z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K8pY8HF0mVEQLs14jp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K8pY8HF0mVEQLs14jpig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5</TotalTime>
  <Words>1352</Words>
  <Application>Microsoft Office PowerPoint</Application>
  <PresentationFormat>Apresentação na tela (4:3)</PresentationFormat>
  <Paragraphs>155</Paragraphs>
  <Slides>19</Slides>
  <Notes>5</Notes>
  <HiddenSlides>6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20" baseType="lpstr">
      <vt:lpstr>Tema do Office</vt:lpstr>
      <vt:lpstr>Slide 1</vt:lpstr>
      <vt:lpstr>Abertura!</vt:lpstr>
      <vt:lpstr>Contextualização...</vt:lpstr>
      <vt:lpstr>Contextualização...</vt:lpstr>
      <vt:lpstr>MOOC ! Para onde está caminhando?</vt:lpstr>
      <vt:lpstr>MOOC?</vt:lpstr>
      <vt:lpstr>MOOC?</vt:lpstr>
      <vt:lpstr>MOOC?</vt:lpstr>
      <vt:lpstr>Don Tapscott</vt:lpstr>
      <vt:lpstr>Para onde vamos no Brasil?</vt:lpstr>
      <vt:lpstr>Competitividade do Brasil!</vt:lpstr>
      <vt:lpstr>Slide 12</vt:lpstr>
      <vt:lpstr>Slide 13</vt:lpstr>
      <vt:lpstr>Slide 14</vt:lpstr>
      <vt:lpstr>Slide 15</vt:lpstr>
      <vt:lpstr>Slide 16</vt:lpstr>
      <vt:lpstr>Provocações...</vt:lpstr>
      <vt:lpstr>Slide 18</vt:lpstr>
      <vt:lpstr>Slide 1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ragon</dc:creator>
  <cp:lastModifiedBy>Universidade Positivo</cp:lastModifiedBy>
  <cp:revision>51</cp:revision>
  <dcterms:created xsi:type="dcterms:W3CDTF">2014-07-31T15:12:21Z</dcterms:created>
  <dcterms:modified xsi:type="dcterms:W3CDTF">2014-10-06T20:19:14Z</dcterms:modified>
</cp:coreProperties>
</file>